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  <p:sldMasterId id="2147483989" r:id="rId2"/>
    <p:sldMasterId id="2147483997" r:id="rId3"/>
    <p:sldMasterId id="2147484000" r:id="rId4"/>
    <p:sldMasterId id="2147484003" r:id="rId5"/>
  </p:sldMasterIdLst>
  <p:notesMasterIdLst>
    <p:notesMasterId r:id="rId80"/>
  </p:notesMasterIdLst>
  <p:handoutMasterIdLst>
    <p:handoutMasterId r:id="rId81"/>
  </p:handoutMasterIdLst>
  <p:sldIdLst>
    <p:sldId id="528" r:id="rId6"/>
    <p:sldId id="603" r:id="rId7"/>
    <p:sldId id="606" r:id="rId8"/>
    <p:sldId id="607" r:id="rId9"/>
    <p:sldId id="608" r:id="rId10"/>
    <p:sldId id="609" r:id="rId11"/>
    <p:sldId id="610" r:id="rId12"/>
    <p:sldId id="613" r:id="rId13"/>
    <p:sldId id="611" r:id="rId14"/>
    <p:sldId id="614" r:id="rId15"/>
    <p:sldId id="615" r:id="rId16"/>
    <p:sldId id="616" r:id="rId17"/>
    <p:sldId id="617" r:id="rId18"/>
    <p:sldId id="619" r:id="rId19"/>
    <p:sldId id="620" r:id="rId20"/>
    <p:sldId id="621" r:id="rId21"/>
    <p:sldId id="622" r:id="rId22"/>
    <p:sldId id="623" r:id="rId23"/>
    <p:sldId id="624" r:id="rId24"/>
    <p:sldId id="625" r:id="rId25"/>
    <p:sldId id="636" r:id="rId26"/>
    <p:sldId id="626" r:id="rId27"/>
    <p:sldId id="638" r:id="rId28"/>
    <p:sldId id="612" r:id="rId29"/>
    <p:sldId id="628" r:id="rId30"/>
    <p:sldId id="629" r:id="rId31"/>
    <p:sldId id="630" r:id="rId32"/>
    <p:sldId id="632" r:id="rId33"/>
    <p:sldId id="637" r:id="rId34"/>
    <p:sldId id="633" r:id="rId35"/>
    <p:sldId id="680" r:id="rId36"/>
    <p:sldId id="681" r:id="rId37"/>
    <p:sldId id="639" r:id="rId38"/>
    <p:sldId id="640" r:id="rId39"/>
    <p:sldId id="641" r:id="rId40"/>
    <p:sldId id="642" r:id="rId41"/>
    <p:sldId id="643" r:id="rId42"/>
    <p:sldId id="644" r:id="rId43"/>
    <p:sldId id="645" r:id="rId44"/>
    <p:sldId id="646" r:id="rId45"/>
    <p:sldId id="647" r:id="rId46"/>
    <p:sldId id="648" r:id="rId47"/>
    <p:sldId id="649" r:id="rId48"/>
    <p:sldId id="650" r:id="rId49"/>
    <p:sldId id="651" r:id="rId50"/>
    <p:sldId id="652" r:id="rId51"/>
    <p:sldId id="653" r:id="rId52"/>
    <p:sldId id="654" r:id="rId53"/>
    <p:sldId id="655" r:id="rId54"/>
    <p:sldId id="656" r:id="rId55"/>
    <p:sldId id="657" r:id="rId56"/>
    <p:sldId id="658" r:id="rId57"/>
    <p:sldId id="659" r:id="rId58"/>
    <p:sldId id="660" r:id="rId59"/>
    <p:sldId id="661" r:id="rId60"/>
    <p:sldId id="662" r:id="rId61"/>
    <p:sldId id="663" r:id="rId62"/>
    <p:sldId id="664" r:id="rId63"/>
    <p:sldId id="665" r:id="rId64"/>
    <p:sldId id="666" r:id="rId65"/>
    <p:sldId id="667" r:id="rId66"/>
    <p:sldId id="668" r:id="rId67"/>
    <p:sldId id="669" r:id="rId68"/>
    <p:sldId id="670" r:id="rId69"/>
    <p:sldId id="671" r:id="rId70"/>
    <p:sldId id="672" r:id="rId71"/>
    <p:sldId id="673" r:id="rId72"/>
    <p:sldId id="674" r:id="rId73"/>
    <p:sldId id="675" r:id="rId74"/>
    <p:sldId id="676" r:id="rId75"/>
    <p:sldId id="677" r:id="rId76"/>
    <p:sldId id="678" r:id="rId77"/>
    <p:sldId id="679" r:id="rId78"/>
    <p:sldId id="539" r:id="rId79"/>
  </p:sldIdLst>
  <p:sldSz cx="9906000" cy="6858000" type="A4"/>
  <p:notesSz cx="9926638" cy="6797675"/>
  <p:custDataLst>
    <p:tags r:id="rId82"/>
  </p:custDataLst>
  <p:defaultTextStyle>
    <a:defPPr>
      <a:defRPr lang="pt-BR"/>
    </a:defPPr>
    <a:lvl1pPr algn="r" rtl="0" fontAlgn="base">
      <a:spcBef>
        <a:spcPct val="0"/>
      </a:spcBef>
      <a:spcAft>
        <a:spcPct val="0"/>
      </a:spcAft>
      <a:defRPr sz="1000" b="1" kern="1200">
        <a:solidFill>
          <a:srgbClr val="150F4D"/>
        </a:solidFill>
        <a:latin typeface="Verdana" pitchFamily="34" charset="0"/>
        <a:ea typeface="+mn-ea"/>
        <a:cs typeface="+mn-cs"/>
      </a:defRPr>
    </a:lvl1pPr>
    <a:lvl2pPr marL="457200" algn="r" rtl="0" fontAlgn="base">
      <a:spcBef>
        <a:spcPct val="0"/>
      </a:spcBef>
      <a:spcAft>
        <a:spcPct val="0"/>
      </a:spcAft>
      <a:defRPr sz="1000" b="1" kern="1200">
        <a:solidFill>
          <a:srgbClr val="150F4D"/>
        </a:solidFill>
        <a:latin typeface="Verdana" pitchFamily="34" charset="0"/>
        <a:ea typeface="+mn-ea"/>
        <a:cs typeface="+mn-cs"/>
      </a:defRPr>
    </a:lvl2pPr>
    <a:lvl3pPr marL="914400" algn="r" rtl="0" fontAlgn="base">
      <a:spcBef>
        <a:spcPct val="0"/>
      </a:spcBef>
      <a:spcAft>
        <a:spcPct val="0"/>
      </a:spcAft>
      <a:defRPr sz="1000" b="1" kern="1200">
        <a:solidFill>
          <a:srgbClr val="150F4D"/>
        </a:solidFill>
        <a:latin typeface="Verdana" pitchFamily="34" charset="0"/>
        <a:ea typeface="+mn-ea"/>
        <a:cs typeface="+mn-cs"/>
      </a:defRPr>
    </a:lvl3pPr>
    <a:lvl4pPr marL="1371600" algn="r" rtl="0" fontAlgn="base">
      <a:spcBef>
        <a:spcPct val="0"/>
      </a:spcBef>
      <a:spcAft>
        <a:spcPct val="0"/>
      </a:spcAft>
      <a:defRPr sz="1000" b="1" kern="1200">
        <a:solidFill>
          <a:srgbClr val="150F4D"/>
        </a:solidFill>
        <a:latin typeface="Verdana" pitchFamily="34" charset="0"/>
        <a:ea typeface="+mn-ea"/>
        <a:cs typeface="+mn-cs"/>
      </a:defRPr>
    </a:lvl4pPr>
    <a:lvl5pPr marL="1828800" algn="r" rtl="0" fontAlgn="base">
      <a:spcBef>
        <a:spcPct val="0"/>
      </a:spcBef>
      <a:spcAft>
        <a:spcPct val="0"/>
      </a:spcAft>
      <a:defRPr sz="1000" b="1" kern="1200">
        <a:solidFill>
          <a:srgbClr val="150F4D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150F4D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150F4D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150F4D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150F4D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">
          <p15:clr>
            <a:srgbClr val="A4A3A4"/>
          </p15:clr>
        </p15:guide>
        <p15:guide id="2" pos="487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>
          <p15:clr>
            <a:srgbClr val="A4A3A4"/>
          </p15:clr>
        </p15:guide>
        <p15:guide id="2" pos="312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ristian Sippel" initials="CS" lastIdx="1" clrIdx="0">
    <p:extLst>
      <p:ext uri="{19B8F6BF-5375-455C-9EA6-DF929625EA0E}">
        <p15:presenceInfo xmlns:p15="http://schemas.microsoft.com/office/powerpoint/2012/main" userId="S-1-5-21-362381305-1960668410-1928362250-8872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FF3B3B"/>
    <a:srgbClr val="FF9900"/>
    <a:srgbClr val="DDEBF7"/>
    <a:srgbClr val="92C0E6"/>
    <a:srgbClr val="000000"/>
    <a:srgbClr val="150F4D"/>
    <a:srgbClr val="000066"/>
    <a:srgbClr val="333399"/>
    <a:srgbClr val="99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Estilo Claro 2 - Ênfas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Estilo Médio 3 - Ênfase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8FB837D-C827-4EFA-A057-4D05807E0F7C}" styleName="Estilo com Tema 1 - Ênfase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434" autoAdjust="0"/>
  </p:normalViewPr>
  <p:slideViewPr>
    <p:cSldViewPr>
      <p:cViewPr varScale="1">
        <p:scale>
          <a:sx n="74" d="100"/>
          <a:sy n="74" d="100"/>
        </p:scale>
        <p:origin x="1110" y="72"/>
      </p:cViewPr>
      <p:guideLst>
        <p:guide orient="horz" pos="26"/>
        <p:guide pos="487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5928"/>
    </p:cViewPr>
  </p:sorterViewPr>
  <p:notesViewPr>
    <p:cSldViewPr>
      <p:cViewPr varScale="1">
        <p:scale>
          <a:sx n="76" d="100"/>
          <a:sy n="76" d="100"/>
        </p:scale>
        <p:origin x="-1332" y="-90"/>
      </p:cViewPr>
      <p:guideLst>
        <p:guide orient="horz" pos="2141"/>
        <p:guide pos="3127"/>
      </p:guideLst>
    </p:cSldViewPr>
  </p:notesViewPr>
  <p:gridSpacing cx="40325" cy="4032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76" Type="http://schemas.openxmlformats.org/officeDocument/2006/relationships/slide" Target="slides/slide71.xml"/><Relationship Id="rId84" Type="http://schemas.openxmlformats.org/officeDocument/2006/relationships/presProps" Target="presProp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slide" Target="slides/slide61.xml"/><Relationship Id="rId74" Type="http://schemas.openxmlformats.org/officeDocument/2006/relationships/slide" Target="slides/slide69.xml"/><Relationship Id="rId79" Type="http://schemas.openxmlformats.org/officeDocument/2006/relationships/slide" Target="slides/slide74.xml"/><Relationship Id="rId8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6.xml"/><Relationship Id="rId82" Type="http://schemas.openxmlformats.org/officeDocument/2006/relationships/tags" Target="tags/tag1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slide" Target="slides/slide72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openxmlformats.org/officeDocument/2006/relationships/notesMaster" Target="notesMasters/notesMaster1.xml"/><Relationship Id="rId85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slide" Target="slides/slide70.xml"/><Relationship Id="rId83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slide" Target="slides/slide73.xml"/><Relationship Id="rId81" Type="http://schemas.openxmlformats.org/officeDocument/2006/relationships/handoutMaster" Target="handoutMasters/handoutMaster1.xml"/><Relationship Id="rId86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5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9.3500425237425369E-2"/>
          <c:w val="0.95279718891548248"/>
          <c:h val="0.53221947213842757"/>
        </c:manualLayout>
      </c:layout>
      <c:pie3DChart>
        <c:varyColors val="1"/>
        <c:ser>
          <c:idx val="0"/>
          <c:order val="0"/>
          <c:tx>
            <c:strRef>
              <c:f>Plan1!$B$1</c:f>
              <c:strCache>
                <c:ptCount val="1"/>
                <c:pt idx="0">
                  <c:v>Venda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Lbls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Plan1!$A$2:$A$5</c:f>
              <c:strCache>
                <c:ptCount val="4"/>
                <c:pt idx="0">
                  <c:v>Residencial/Rural - Baixa Renda</c:v>
                </c:pt>
                <c:pt idx="1">
                  <c:v>Industrial/Residencial</c:v>
                </c:pt>
                <c:pt idx="2">
                  <c:v>PROCEL</c:v>
                </c:pt>
                <c:pt idx="3">
                  <c:v>Poder Público, Hospitais, Comercial, Educacional, IP, Serviços Públicos, Rural, MKT, Plano de Gestão, Rural e projetos pilotos</c:v>
                </c:pt>
              </c:strCache>
            </c:strRef>
          </c:cat>
          <c:val>
            <c:numRef>
              <c:f>Plan1!$B$2:$B$5</c:f>
              <c:numCache>
                <c:formatCode>0%</c:formatCode>
                <c:ptCount val="4"/>
                <c:pt idx="0">
                  <c:v>0.4</c:v>
                </c:pt>
                <c:pt idx="1">
                  <c:v>0.2</c:v>
                </c:pt>
                <c:pt idx="2">
                  <c:v>0.2</c:v>
                </c:pt>
                <c:pt idx="3">
                  <c:v>0.2</c:v>
                </c:pt>
              </c:numCache>
            </c:numRef>
          </c:val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6594360686661793E-2"/>
          <c:y val="0.63732619866438944"/>
          <c:w val="0.88681127862667641"/>
          <c:h val="0.33904181280301737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solidFill>
            <a:srgbClr val="000000"/>
          </a:solidFill>
        </a:ln>
        <a:effectLst/>
      </c:spPr>
      <c:txPr>
        <a:bodyPr rot="0" spcFirstLastPara="1" vertOverflow="ellipsis" vert="horz" wrap="square" anchor="ctr" anchorCtr="0"/>
        <a:lstStyle/>
        <a:p>
          <a:pPr>
            <a:defRPr sz="1200" b="0" i="0" u="none" strike="noStrike" kern="1200" spc="0" baseline="0">
              <a:ln>
                <a:noFill/>
              </a:ln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4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74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4301697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70" tIns="45835" rIns="91670" bIns="45835" numCol="1" anchor="t" anchorCtr="0" compatLnSpc="1">
            <a:prstTxWarp prst="textNoShape">
              <a:avLst/>
            </a:prstTxWarp>
          </a:bodyPr>
          <a:lstStyle>
            <a:lvl1pPr algn="l" defTabSz="915257">
              <a:defRPr sz="1200" b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pt-BR" dirty="0"/>
          </a:p>
        </p:txBody>
      </p:sp>
      <p:sp>
        <p:nvSpPr>
          <p:cNvPr id="4474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2657" y="1"/>
            <a:ext cx="4301697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70" tIns="45835" rIns="91670" bIns="45835" numCol="1" anchor="t" anchorCtr="0" compatLnSpc="1">
            <a:prstTxWarp prst="textNoShape">
              <a:avLst/>
            </a:prstTxWarp>
          </a:bodyPr>
          <a:lstStyle>
            <a:lvl1pPr defTabSz="915257">
              <a:defRPr sz="1200" b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pt-BR" dirty="0"/>
          </a:p>
        </p:txBody>
      </p:sp>
      <p:sp>
        <p:nvSpPr>
          <p:cNvPr id="4474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6456702"/>
            <a:ext cx="4301697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70" tIns="45835" rIns="91670" bIns="45835" numCol="1" anchor="b" anchorCtr="0" compatLnSpc="1">
            <a:prstTxWarp prst="textNoShape">
              <a:avLst/>
            </a:prstTxWarp>
          </a:bodyPr>
          <a:lstStyle>
            <a:lvl1pPr algn="l" defTabSz="915257">
              <a:defRPr sz="1200" b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pt-BR" dirty="0"/>
          </a:p>
        </p:txBody>
      </p:sp>
      <p:sp>
        <p:nvSpPr>
          <p:cNvPr id="4474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2657" y="6456702"/>
            <a:ext cx="4301697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70" tIns="45835" rIns="91670" bIns="45835" numCol="1" anchor="b" anchorCtr="0" compatLnSpc="1">
            <a:prstTxWarp prst="textNoShape">
              <a:avLst/>
            </a:prstTxWarp>
          </a:bodyPr>
          <a:lstStyle>
            <a:lvl1pPr defTabSz="915257">
              <a:defRPr sz="1200" b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397DC069-63D2-4485-A444-569FFDA63D64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83500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4301697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70" tIns="45835" rIns="91670" bIns="45835" numCol="1" anchor="t" anchorCtr="0" compatLnSpc="1">
            <a:prstTxWarp prst="textNoShape">
              <a:avLst/>
            </a:prstTxWarp>
          </a:bodyPr>
          <a:lstStyle>
            <a:lvl1pPr algn="l" defTabSz="915257">
              <a:defRPr sz="1200" b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pt-BR" dirty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2657" y="1"/>
            <a:ext cx="4301697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70" tIns="45835" rIns="91670" bIns="45835" numCol="1" anchor="t" anchorCtr="0" compatLnSpc="1">
            <a:prstTxWarp prst="textNoShape">
              <a:avLst/>
            </a:prstTxWarp>
          </a:bodyPr>
          <a:lstStyle>
            <a:lvl1pPr defTabSz="915257">
              <a:defRPr sz="1200" b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pt-BR" dirty="0"/>
          </a:p>
        </p:txBody>
      </p:sp>
      <p:sp>
        <p:nvSpPr>
          <p:cNvPr id="327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130550" y="511175"/>
            <a:ext cx="3679825" cy="2549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3584" y="3228898"/>
            <a:ext cx="7939479" cy="3057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70" tIns="45835" rIns="91670" bIns="4583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noProof="0" smtClean="0"/>
              <a:t>Clique para editar os estilos d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6456702"/>
            <a:ext cx="4301697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70" tIns="45835" rIns="91670" bIns="45835" numCol="1" anchor="b" anchorCtr="0" compatLnSpc="1">
            <a:prstTxWarp prst="textNoShape">
              <a:avLst/>
            </a:prstTxWarp>
          </a:bodyPr>
          <a:lstStyle>
            <a:lvl1pPr algn="l" defTabSz="915257">
              <a:defRPr sz="1200" b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pt-BR" dirty="0"/>
          </a:p>
        </p:txBody>
      </p:sp>
      <p:sp>
        <p:nvSpPr>
          <p:cNvPr id="102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2657" y="6456702"/>
            <a:ext cx="4301697" cy="339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70" tIns="45835" rIns="91670" bIns="45835" numCol="1" anchor="b" anchorCtr="0" compatLnSpc="1">
            <a:prstTxWarp prst="textNoShape">
              <a:avLst/>
            </a:prstTxWarp>
          </a:bodyPr>
          <a:lstStyle>
            <a:lvl1pPr defTabSz="915257">
              <a:defRPr sz="1200" b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939FE253-A81F-46FC-B1C7-55F7F6B49068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6729730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5069"/>
            <a:fld id="{A60184A7-AE25-4126-8DF8-9AA0A2B50BAF}" type="slidenum">
              <a:rPr lang="pt-BR" smtClean="0"/>
              <a:pPr defTabSz="915069"/>
              <a:t>1</a:t>
            </a:fld>
            <a:endParaRPr lang="pt-BR" dirty="0" smtClean="0"/>
          </a:p>
        </p:txBody>
      </p:sp>
      <p:sp>
        <p:nvSpPr>
          <p:cNvPr id="33795" name="Rectangle 7"/>
          <p:cNvSpPr txBox="1">
            <a:spLocks noGrp="1" noChangeArrowheads="1"/>
          </p:cNvSpPr>
          <p:nvPr/>
        </p:nvSpPr>
        <p:spPr bwMode="auto">
          <a:xfrm>
            <a:off x="5622657" y="6457795"/>
            <a:ext cx="4301697" cy="338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176" tIns="48087" rIns="96176" bIns="48087" anchor="b"/>
          <a:lstStyle/>
          <a:p>
            <a:pPr defTabSz="960431"/>
            <a:fld id="{F412F20A-5EC0-4A86-AD3A-C38D686AD1E9}" type="slidenum">
              <a:rPr lang="en-US" sz="1300" b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pPr defTabSz="960431"/>
              <a:t>1</a:t>
            </a:fld>
            <a:endParaRPr lang="en-US" sz="1300" b="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79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24200" y="509588"/>
            <a:ext cx="3679825" cy="2547937"/>
          </a:xfrm>
          <a:ln/>
        </p:spPr>
      </p:sp>
      <p:sp>
        <p:nvSpPr>
          <p:cNvPr id="3379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93584" y="3227808"/>
            <a:ext cx="7939479" cy="3060042"/>
          </a:xfrm>
          <a:noFill/>
          <a:ln/>
        </p:spPr>
        <p:txBody>
          <a:bodyPr lIns="91684" tIns="45843" rIns="91684" bIns="45843"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319065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294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930632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837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77746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563450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400684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681553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3532196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529219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822231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761957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7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 smtClean="0">
              <a:ea typeface="ＭＳ Ｐゴシック" pitchFamily="34" charset="-128"/>
            </a:endParaRPr>
          </a:p>
        </p:txBody>
      </p:sp>
      <p:sp>
        <p:nvSpPr>
          <p:cNvPr id="52228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3097B06E-BC99-4B37-B20F-40489CC59778}" type="slidenum">
              <a:rPr lang="en-US" altLang="pt-BR" sz="1200" smtClean="0"/>
              <a:pPr eaLnBrk="1" hangingPunct="1"/>
              <a:t>24</a:t>
            </a:fld>
            <a:endParaRPr lang="en-US" altLang="pt-BR" sz="1200" smtClean="0"/>
          </a:p>
        </p:txBody>
      </p:sp>
    </p:spTree>
    <p:extLst>
      <p:ext uri="{BB962C8B-B14F-4D97-AF65-F5344CB8AC3E}">
        <p14:creationId xmlns:p14="http://schemas.microsoft.com/office/powerpoint/2010/main" val="20919124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7565126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282267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9215161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0702915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5196641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6998293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0540362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2986475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2870781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1005120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134580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6334737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7035652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4259633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6210305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1154932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222214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468076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9226114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9706070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9584361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9029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4401727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7459183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5921682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138847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3668457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0900995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67910216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6316872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46093523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6552057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480507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55723240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1234047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4534706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0721270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08910808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96105222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0594613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61166888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2431197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30927526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620731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30775888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60028792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46689187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94431873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295962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53702340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34433934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75882655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8550594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789471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04737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100513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Rot="1" noChangeAspec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pt-BR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011588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bg>
      <p:bgPr>
        <a:solidFill>
          <a:srgbClr val="0058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CPE_ppsimplesenergia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183188"/>
            <a:ext cx="9906000" cy="167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7005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42950" y="2130489"/>
            <a:ext cx="8420100" cy="1470025"/>
          </a:xfrm>
          <a:ln/>
        </p:spPr>
        <p:txBody>
          <a:bodyPr/>
          <a:lstStyle>
            <a:lvl1pPr algn="ctr">
              <a:defRPr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77005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pt-BR"/>
              <a:t>Clique para editar o estilo do subtítulo mestre</a:t>
            </a:r>
          </a:p>
        </p:txBody>
      </p:sp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934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5" name="Slide do think-cell" r:id="rId4" imgW="395" imgH="394" progId="TCLayout.ActiveDocument.1">
                  <p:embed/>
                </p:oleObj>
              </mc:Choice>
              <mc:Fallback>
                <p:oleObj name="Slide do think-cell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55949" y="42731"/>
            <a:ext cx="8225745" cy="888524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49430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3063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26065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4" name="Slide do think-cell" r:id="rId4" imgW="395" imgH="394" progId="TCLayout.ActiveDocument.1">
                  <p:embed/>
                </p:oleObj>
              </mc:Choice>
              <mc:Fallback>
                <p:oleObj name="Slide do think-cell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55949" y="42731"/>
            <a:ext cx="8225745" cy="888524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476980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90522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55949" y="42731"/>
            <a:ext cx="8225745" cy="888524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854664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64263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8"/>
          <p:cNvSpPr>
            <a:spLocks noGrp="1"/>
          </p:cNvSpPr>
          <p:nvPr>
            <p:ph type="body" sz="quarter" idx="11"/>
          </p:nvPr>
        </p:nvSpPr>
        <p:spPr>
          <a:xfrm>
            <a:off x="703949" y="6574350"/>
            <a:ext cx="8856000" cy="252000"/>
          </a:xfrm>
        </p:spPr>
        <p:txBody>
          <a:bodyPr lIns="36000" tIns="36000" rIns="36000" bIns="36000"/>
          <a:lstStyle>
            <a:lvl1pPr marL="0" indent="0">
              <a:defRPr sz="900">
                <a:solidFill>
                  <a:srgbClr val="000000"/>
                </a:solidFill>
              </a:defRPr>
            </a:lvl1pPr>
            <a:lvl2pPr>
              <a:defRPr sz="1000">
                <a:solidFill>
                  <a:schemeClr val="tx1"/>
                </a:solidFill>
              </a:defRPr>
            </a:lvl2pPr>
            <a:lvl3pPr>
              <a:defRPr sz="1000">
                <a:solidFill>
                  <a:schemeClr val="tx1"/>
                </a:solidFill>
              </a:defRPr>
            </a:lvl3pPr>
            <a:lvl4pPr>
              <a:defRPr sz="10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8"/>
          <p:cNvSpPr>
            <a:spLocks noGrp="1"/>
          </p:cNvSpPr>
          <p:nvPr>
            <p:ph type="body" sz="quarter" idx="11"/>
          </p:nvPr>
        </p:nvSpPr>
        <p:spPr>
          <a:xfrm>
            <a:off x="703949" y="6574350"/>
            <a:ext cx="8856000" cy="252000"/>
          </a:xfrm>
        </p:spPr>
        <p:txBody>
          <a:bodyPr lIns="36000" tIns="36000" rIns="36000" bIns="36000"/>
          <a:lstStyle>
            <a:lvl1pPr marL="0" indent="0">
              <a:defRPr sz="900">
                <a:solidFill>
                  <a:srgbClr val="000000"/>
                </a:solidFill>
              </a:defRPr>
            </a:lvl1pPr>
            <a:lvl2pPr>
              <a:defRPr sz="1000">
                <a:solidFill>
                  <a:schemeClr val="tx1"/>
                </a:solidFill>
              </a:defRPr>
            </a:lvl2pPr>
            <a:lvl3pPr>
              <a:defRPr sz="1000">
                <a:solidFill>
                  <a:schemeClr val="tx1"/>
                </a:solidFill>
              </a:defRPr>
            </a:lvl3pPr>
            <a:lvl4pPr>
              <a:defRPr sz="10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sp>
        <p:nvSpPr>
          <p:cNvPr id="7" name="Espaço Reservado para Texto 6"/>
          <p:cNvSpPr>
            <a:spLocks noGrp="1"/>
          </p:cNvSpPr>
          <p:nvPr>
            <p:ph type="body" sz="quarter" idx="12"/>
          </p:nvPr>
        </p:nvSpPr>
        <p:spPr>
          <a:xfrm>
            <a:off x="273000" y="1170800"/>
            <a:ext cx="9360000" cy="484187"/>
          </a:xfrm>
        </p:spPr>
        <p:txBody>
          <a:bodyPr lIns="36000" rIns="36000"/>
          <a:lstStyle>
            <a:lvl1pPr marL="0" indent="0"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3463827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DDDA2971-B0AA-4649-AFEF-89117FA3C9C1}" type="datetimeFigureOut">
              <a:rPr lang="pt-BR" smtClean="0"/>
              <a:t>05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7B36DBB5-D221-43C3-B359-CF2246075DD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898065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8746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DDDA2971-B0AA-4649-AFEF-89117FA3C9C1}" type="datetimeFigureOut">
              <a:rPr lang="pt-BR" smtClean="0"/>
              <a:t>05/06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7B36DBB5-D221-43C3-B359-CF2246075DD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74494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55949" y="42731"/>
            <a:ext cx="8225745" cy="888524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1359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58227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1" name="Slide do think-cell" r:id="rId4" imgW="395" imgH="394" progId="TCLayout.ActiveDocument.1">
                  <p:embed/>
                </p:oleObj>
              </mc:Choice>
              <mc:Fallback>
                <p:oleObj name="Slide do think-cell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50738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2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oleObject" Target="../embeddings/oleObject3.bin"/><Relationship Id="rId5" Type="http://schemas.openxmlformats.org/officeDocument/2006/relationships/tags" Target="../tags/tag5.xml"/><Relationship Id="rId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4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5.bin"/><Relationship Id="rId5" Type="http://schemas.openxmlformats.org/officeDocument/2006/relationships/tags" Target="../tags/tag7.xml"/><Relationship Id="rId4" Type="http://schemas.openxmlformats.org/officeDocument/2006/relationships/vmlDrawing" Target="../drawings/vmlDrawing5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5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7.bin"/><Relationship Id="rId5" Type="http://schemas.openxmlformats.org/officeDocument/2006/relationships/tags" Target="../tags/tag9.xml"/><Relationship Id="rId4" Type="http://schemas.openxmlformats.org/officeDocument/2006/relationships/vmlDrawing" Target="../drawings/vmlDrawing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0180" y="1166813"/>
            <a:ext cx="9648825" cy="535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</p:txBody>
      </p:sp>
      <p:pic>
        <p:nvPicPr>
          <p:cNvPr id="15363" name="Picture 5" descr="tarja.pdf"/>
          <p:cNvPicPr>
            <a:picLocks noChangeAspect="1"/>
          </p:cNvPicPr>
          <p:nvPr userDrawn="1"/>
        </p:nvPicPr>
        <p:blipFill>
          <a:blip r:embed="rId10" cstate="print">
            <a:lum bright="-10000"/>
          </a:blip>
          <a:srcRect r="6802" b="84468"/>
          <a:stretch>
            <a:fillRect/>
          </a:stretch>
        </p:blipFill>
        <p:spPr bwMode="auto">
          <a:xfrm>
            <a:off x="0" y="34"/>
            <a:ext cx="9907588" cy="106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4" name="Picture 6" descr="Energia_neg_pb.png"/>
          <p:cNvPicPr>
            <a:picLocks noChangeAspect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57207" y="166688"/>
            <a:ext cx="915988" cy="671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5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1638300" y="19052"/>
            <a:ext cx="8140700" cy="8810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estilo do título mestre</a:t>
            </a:r>
          </a:p>
        </p:txBody>
      </p:sp>
      <p:sp>
        <p:nvSpPr>
          <p:cNvPr id="769030" name="Line 6"/>
          <p:cNvSpPr>
            <a:spLocks noChangeShapeType="1"/>
          </p:cNvSpPr>
          <p:nvPr userDrawn="1">
            <p:custDataLst>
              <p:tags r:id="rId9"/>
            </p:custDataLst>
          </p:nvPr>
        </p:nvSpPr>
        <p:spPr bwMode="auto">
          <a:xfrm>
            <a:off x="671513" y="6618288"/>
            <a:ext cx="0" cy="215900"/>
          </a:xfrm>
          <a:prstGeom prst="line">
            <a:avLst/>
          </a:prstGeom>
          <a:noFill/>
          <a:ln w="9525">
            <a:solidFill>
              <a:srgbClr val="000069"/>
            </a:solidFill>
            <a:round/>
            <a:headEnd/>
            <a:tailEnd/>
          </a:ln>
          <a:effectLst/>
        </p:spPr>
        <p:txBody>
          <a:bodyPr lIns="36000" tIns="36000" rIns="36000" bIns="36000" anchor="b">
            <a:spAutoFit/>
          </a:bodyPr>
          <a:lstStyle/>
          <a:p>
            <a:pPr>
              <a:defRPr/>
            </a:pPr>
            <a:endParaRPr lang="pt-BR" dirty="0"/>
          </a:p>
        </p:txBody>
      </p:sp>
      <p:sp>
        <p:nvSpPr>
          <p:cNvPr id="769031" name="Text Box 7"/>
          <p:cNvSpPr txBox="1">
            <a:spLocks noChangeArrowheads="1"/>
          </p:cNvSpPr>
          <p:nvPr userDrawn="1"/>
        </p:nvSpPr>
        <p:spPr bwMode="auto">
          <a:xfrm>
            <a:off x="165100" y="6613525"/>
            <a:ext cx="460382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>
              <a:defRPr/>
            </a:pPr>
            <a:fld id="{605083E8-4A3C-4C88-B9AE-C0E3E26731DE}" type="slidenum">
              <a:rPr lang="pt-BR" sz="900">
                <a:solidFill>
                  <a:srgbClr val="0058A0"/>
                </a:solidFill>
              </a:rPr>
              <a:pPr algn="l">
                <a:defRPr/>
              </a:pPr>
              <a:t>‹nº›</a:t>
            </a:fld>
            <a:endParaRPr lang="pt-BR" sz="900" dirty="0">
              <a:solidFill>
                <a:srgbClr val="0058A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67" r:id="rId2"/>
    <p:sldLayoutId id="2147483988" r:id="rId3"/>
    <p:sldLayoutId id="2147483968" r:id="rId4"/>
    <p:sldLayoutId id="2147484006" r:id="rId5"/>
    <p:sldLayoutId id="2147484007" r:id="rId6"/>
    <p:sldLayoutId id="2147484008" r:id="rId7"/>
  </p:sldLayoutIdLst>
  <p:hf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  <a:cs typeface="Arial" pitchFamily="34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  <a:cs typeface="Arial" pitchFamily="34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  <a:cs typeface="Arial" pitchFamily="34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  <a:cs typeface="Arial" pitchFamily="34" charset="0"/>
        </a:defRPr>
      </a:lvl5pPr>
      <a:lvl6pPr marL="457200" algn="r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  <a:cs typeface="Arial" pitchFamily="34" charset="0"/>
        </a:defRPr>
      </a:lvl6pPr>
      <a:lvl7pPr marL="914400" algn="r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  <a:cs typeface="Arial" pitchFamily="34" charset="0"/>
        </a:defRPr>
      </a:lvl7pPr>
      <a:lvl8pPr marL="1371600" algn="r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  <a:cs typeface="Arial" pitchFamily="34" charset="0"/>
        </a:defRPr>
      </a:lvl8pPr>
      <a:lvl9pPr marL="1828800" algn="r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Verdana" pitchFamily="34" charset="0"/>
          <a:cs typeface="Arial" pitchFamily="34" charset="0"/>
        </a:defRPr>
      </a:lvl9pPr>
    </p:titleStyle>
    <p:bodyStyle>
      <a:lvl1pPr marL="269875" indent="-269875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SzPct val="90000"/>
        <a:buFont typeface="Wingdings" pitchFamily="2" charset="2"/>
        <a:buChar char="§"/>
        <a:defRPr sz="3200">
          <a:solidFill>
            <a:schemeClr val="bg1"/>
          </a:solidFill>
          <a:latin typeface="+mn-lt"/>
          <a:ea typeface="+mn-ea"/>
          <a:cs typeface="+mn-cs"/>
        </a:defRPr>
      </a:lvl1pPr>
      <a:lvl2pPr marL="627063" indent="-177800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SzPct val="90000"/>
        <a:buFont typeface="Verdana" pitchFamily="34" charset="0"/>
        <a:buChar char="–"/>
        <a:defRPr sz="1600">
          <a:solidFill>
            <a:schemeClr val="bg1"/>
          </a:solidFill>
          <a:latin typeface="+mn-lt"/>
          <a:cs typeface="+mn-cs"/>
        </a:defRPr>
      </a:lvl2pPr>
      <a:lvl3pPr marL="984250" indent="-174625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SzPct val="90000"/>
        <a:buChar char="•"/>
        <a:defRPr sz="1400">
          <a:solidFill>
            <a:schemeClr val="bg1"/>
          </a:solidFill>
          <a:latin typeface="+mn-lt"/>
          <a:cs typeface="+mn-cs"/>
        </a:defRPr>
      </a:lvl3pPr>
      <a:lvl4pPr marL="16383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92479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" name="Slide do think-cell" r:id="rId6" imgW="325" imgH="326" progId="TCLayout.ActiveDocument.1">
                  <p:embed/>
                </p:oleObj>
              </mc:Choice>
              <mc:Fallback>
                <p:oleObj name="Slide do think-cell" r:id="rId6" imgW="325" imgH="3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2"/>
          <p:cNvSpPr/>
          <p:nvPr userDrawn="1"/>
        </p:nvSpPr>
        <p:spPr>
          <a:xfrm>
            <a:off x="0" y="-27385"/>
            <a:ext cx="9906000" cy="1399809"/>
          </a:xfrm>
          <a:custGeom>
            <a:avLst/>
            <a:gdLst/>
            <a:ahLst/>
            <a:cxnLst/>
            <a:rect l="l" t="t" r="r" b="b"/>
            <a:pathLst>
              <a:path w="9144000" h="1005840">
                <a:moveTo>
                  <a:pt x="9143790" y="0"/>
                </a:moveTo>
                <a:lnTo>
                  <a:pt x="0" y="0"/>
                </a:lnTo>
                <a:lnTo>
                  <a:pt x="0" y="726040"/>
                </a:lnTo>
                <a:lnTo>
                  <a:pt x="7808151" y="726422"/>
                </a:lnTo>
                <a:lnTo>
                  <a:pt x="7860569" y="727566"/>
                </a:lnTo>
                <a:lnTo>
                  <a:pt x="7912837" y="729465"/>
                </a:lnTo>
                <a:lnTo>
                  <a:pt x="7964949" y="732115"/>
                </a:lnTo>
                <a:lnTo>
                  <a:pt x="8016894" y="735510"/>
                </a:lnTo>
                <a:lnTo>
                  <a:pt x="8068665" y="739643"/>
                </a:lnTo>
                <a:lnTo>
                  <a:pt x="8120254" y="744511"/>
                </a:lnTo>
                <a:lnTo>
                  <a:pt x="8171652" y="750107"/>
                </a:lnTo>
                <a:lnTo>
                  <a:pt x="8222850" y="756426"/>
                </a:lnTo>
                <a:lnTo>
                  <a:pt x="8273842" y="763462"/>
                </a:lnTo>
                <a:lnTo>
                  <a:pt x="8324617" y="771210"/>
                </a:lnTo>
                <a:lnTo>
                  <a:pt x="8375168" y="779665"/>
                </a:lnTo>
                <a:lnTo>
                  <a:pt x="8425487" y="788820"/>
                </a:lnTo>
                <a:lnTo>
                  <a:pt x="8475565" y="798671"/>
                </a:lnTo>
                <a:lnTo>
                  <a:pt x="8525394" y="809212"/>
                </a:lnTo>
                <a:lnTo>
                  <a:pt x="8574966" y="820438"/>
                </a:lnTo>
                <a:lnTo>
                  <a:pt x="8624272" y="832342"/>
                </a:lnTo>
                <a:lnTo>
                  <a:pt x="8673304" y="844920"/>
                </a:lnTo>
                <a:lnTo>
                  <a:pt x="8722053" y="858166"/>
                </a:lnTo>
                <a:lnTo>
                  <a:pt x="8770512" y="872075"/>
                </a:lnTo>
                <a:lnTo>
                  <a:pt x="8818672" y="886641"/>
                </a:lnTo>
                <a:lnTo>
                  <a:pt x="8866524" y="901858"/>
                </a:lnTo>
                <a:lnTo>
                  <a:pt x="8914061" y="917722"/>
                </a:lnTo>
                <a:lnTo>
                  <a:pt x="8961274" y="934226"/>
                </a:lnTo>
                <a:lnTo>
                  <a:pt x="9008155" y="951365"/>
                </a:lnTo>
                <a:lnTo>
                  <a:pt x="9054695" y="969134"/>
                </a:lnTo>
                <a:lnTo>
                  <a:pt x="9100886" y="987528"/>
                </a:lnTo>
                <a:lnTo>
                  <a:pt x="9143790" y="1005324"/>
                </a:lnTo>
                <a:lnTo>
                  <a:pt x="9143790" y="0"/>
                </a:lnTo>
                <a:close/>
              </a:path>
            </a:pathLst>
          </a:custGeom>
          <a:solidFill>
            <a:srgbClr val="00ACED"/>
          </a:solidFill>
        </p:spPr>
        <p:txBody>
          <a:bodyPr wrap="square" lIns="0" tIns="0" rIns="0" bIns="0" rtlCol="0"/>
          <a:lstStyle/>
          <a:p>
            <a:endParaRPr>
              <a:solidFill>
                <a:schemeClr val="bg1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8">
            <a:clrChange>
              <a:clrFrom>
                <a:srgbClr val="00ACE1"/>
              </a:clrFrom>
              <a:clrTo>
                <a:srgbClr val="00ACE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1694" y="85927"/>
            <a:ext cx="1197306" cy="74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11" name="Text Box 7"/>
          <p:cNvSpPr txBox="1">
            <a:spLocks noChangeArrowheads="1"/>
          </p:cNvSpPr>
          <p:nvPr userDrawn="1"/>
        </p:nvSpPr>
        <p:spPr bwMode="auto">
          <a:xfrm>
            <a:off x="165100" y="6613525"/>
            <a:ext cx="460382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>
              <a:defRPr/>
            </a:pPr>
            <a:fld id="{605083E8-4A3C-4C88-B9AE-C0E3E26731DE}" type="slidenum">
              <a:rPr lang="pt-BR" sz="900">
                <a:solidFill>
                  <a:srgbClr val="0058A0"/>
                </a:solidFill>
              </a:rPr>
              <a:pPr algn="l">
                <a:defRPr/>
              </a:pPr>
              <a:t>‹nº›</a:t>
            </a:fld>
            <a:endParaRPr lang="pt-BR" sz="900" dirty="0">
              <a:solidFill>
                <a:srgbClr val="0058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371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bg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270685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1" name="Slide do think-cell" r:id="rId6" imgW="325" imgH="326" progId="TCLayout.ActiveDocument.1">
                  <p:embed/>
                </p:oleObj>
              </mc:Choice>
              <mc:Fallback>
                <p:oleObj name="Slide do think-cell" r:id="rId6" imgW="325" imgH="3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11" name="Text Box 7"/>
          <p:cNvSpPr txBox="1">
            <a:spLocks noChangeArrowheads="1"/>
          </p:cNvSpPr>
          <p:nvPr userDrawn="1"/>
        </p:nvSpPr>
        <p:spPr bwMode="auto">
          <a:xfrm>
            <a:off x="165100" y="6613525"/>
            <a:ext cx="460382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>
              <a:defRPr/>
            </a:pPr>
            <a:fld id="{605083E8-4A3C-4C88-B9AE-C0E3E26731DE}" type="slidenum">
              <a:rPr lang="pt-BR" sz="900">
                <a:solidFill>
                  <a:srgbClr val="0058A0"/>
                </a:solidFill>
              </a:rPr>
              <a:pPr algn="l">
                <a:defRPr/>
              </a:pPr>
              <a:t>‹nº›</a:t>
            </a:fld>
            <a:endParaRPr lang="pt-BR" sz="900" dirty="0">
              <a:solidFill>
                <a:srgbClr val="0058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236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bg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29982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0" name="Slide do think-cell" r:id="rId6" imgW="325" imgH="326" progId="TCLayout.ActiveDocument.1">
                  <p:embed/>
                </p:oleObj>
              </mc:Choice>
              <mc:Fallback>
                <p:oleObj name="Slide do think-cell" r:id="rId6" imgW="325" imgH="3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2"/>
          <p:cNvSpPr/>
          <p:nvPr userDrawn="1"/>
        </p:nvSpPr>
        <p:spPr>
          <a:xfrm>
            <a:off x="0" y="-27385"/>
            <a:ext cx="9906000" cy="1399809"/>
          </a:xfrm>
          <a:custGeom>
            <a:avLst/>
            <a:gdLst/>
            <a:ahLst/>
            <a:cxnLst/>
            <a:rect l="l" t="t" r="r" b="b"/>
            <a:pathLst>
              <a:path w="9144000" h="1005840">
                <a:moveTo>
                  <a:pt x="9143790" y="0"/>
                </a:moveTo>
                <a:lnTo>
                  <a:pt x="0" y="0"/>
                </a:lnTo>
                <a:lnTo>
                  <a:pt x="0" y="726040"/>
                </a:lnTo>
                <a:lnTo>
                  <a:pt x="7808151" y="726422"/>
                </a:lnTo>
                <a:lnTo>
                  <a:pt x="7860569" y="727566"/>
                </a:lnTo>
                <a:lnTo>
                  <a:pt x="7912837" y="729465"/>
                </a:lnTo>
                <a:lnTo>
                  <a:pt x="7964949" y="732115"/>
                </a:lnTo>
                <a:lnTo>
                  <a:pt x="8016894" y="735510"/>
                </a:lnTo>
                <a:lnTo>
                  <a:pt x="8068665" y="739643"/>
                </a:lnTo>
                <a:lnTo>
                  <a:pt x="8120254" y="744511"/>
                </a:lnTo>
                <a:lnTo>
                  <a:pt x="8171652" y="750107"/>
                </a:lnTo>
                <a:lnTo>
                  <a:pt x="8222850" y="756426"/>
                </a:lnTo>
                <a:lnTo>
                  <a:pt x="8273842" y="763462"/>
                </a:lnTo>
                <a:lnTo>
                  <a:pt x="8324617" y="771210"/>
                </a:lnTo>
                <a:lnTo>
                  <a:pt x="8375168" y="779665"/>
                </a:lnTo>
                <a:lnTo>
                  <a:pt x="8425487" y="788820"/>
                </a:lnTo>
                <a:lnTo>
                  <a:pt x="8475565" y="798671"/>
                </a:lnTo>
                <a:lnTo>
                  <a:pt x="8525394" y="809212"/>
                </a:lnTo>
                <a:lnTo>
                  <a:pt x="8574966" y="820438"/>
                </a:lnTo>
                <a:lnTo>
                  <a:pt x="8624272" y="832342"/>
                </a:lnTo>
                <a:lnTo>
                  <a:pt x="8673304" y="844920"/>
                </a:lnTo>
                <a:lnTo>
                  <a:pt x="8722053" y="858166"/>
                </a:lnTo>
                <a:lnTo>
                  <a:pt x="8770512" y="872075"/>
                </a:lnTo>
                <a:lnTo>
                  <a:pt x="8818672" y="886641"/>
                </a:lnTo>
                <a:lnTo>
                  <a:pt x="8866524" y="901858"/>
                </a:lnTo>
                <a:lnTo>
                  <a:pt x="8914061" y="917722"/>
                </a:lnTo>
                <a:lnTo>
                  <a:pt x="8961274" y="934226"/>
                </a:lnTo>
                <a:lnTo>
                  <a:pt x="9008155" y="951365"/>
                </a:lnTo>
                <a:lnTo>
                  <a:pt x="9054695" y="969134"/>
                </a:lnTo>
                <a:lnTo>
                  <a:pt x="9100886" y="987528"/>
                </a:lnTo>
                <a:lnTo>
                  <a:pt x="9143790" y="1005324"/>
                </a:lnTo>
                <a:lnTo>
                  <a:pt x="9143790" y="0"/>
                </a:lnTo>
                <a:close/>
              </a:path>
            </a:pathLst>
          </a:custGeom>
          <a:solidFill>
            <a:srgbClr val="00ACED"/>
          </a:solidFill>
        </p:spPr>
        <p:txBody>
          <a:bodyPr wrap="square" lIns="0" tIns="0" rIns="0" bIns="0" rtlCol="0"/>
          <a:lstStyle/>
          <a:p>
            <a:endParaRPr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8">
            <a:clrChange>
              <a:clrFrom>
                <a:srgbClr val="00ACE1"/>
              </a:clrFrom>
              <a:clrTo>
                <a:srgbClr val="00ACE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1694" y="85927"/>
            <a:ext cx="1197306" cy="74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11" name="Text Box 7"/>
          <p:cNvSpPr txBox="1">
            <a:spLocks noChangeArrowheads="1"/>
          </p:cNvSpPr>
          <p:nvPr userDrawn="1"/>
        </p:nvSpPr>
        <p:spPr bwMode="auto">
          <a:xfrm>
            <a:off x="165100" y="6613525"/>
            <a:ext cx="460382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>
              <a:defRPr/>
            </a:pPr>
            <a:fld id="{605083E8-4A3C-4C88-B9AE-C0E3E26731DE}" type="slidenum">
              <a:rPr lang="pt-BR" sz="900">
                <a:solidFill>
                  <a:srgbClr val="0058A0"/>
                </a:solidFill>
              </a:rPr>
              <a:pPr algn="l">
                <a:defRPr/>
              </a:pPr>
              <a:t>‹nº›</a:t>
            </a:fld>
            <a:endParaRPr lang="pt-BR" sz="900" dirty="0">
              <a:solidFill>
                <a:srgbClr val="0058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634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bg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6" name="Slide do think-cell" r:id="rId6" imgW="325" imgH="326" progId="TCLayout.ActiveDocument.1">
                  <p:embed/>
                </p:oleObj>
              </mc:Choice>
              <mc:Fallback>
                <p:oleObj name="Slide do think-cell" r:id="rId6" imgW="325" imgH="3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2"/>
          <p:cNvSpPr/>
          <p:nvPr userDrawn="1"/>
        </p:nvSpPr>
        <p:spPr>
          <a:xfrm>
            <a:off x="0" y="-27385"/>
            <a:ext cx="9906000" cy="1399809"/>
          </a:xfrm>
          <a:custGeom>
            <a:avLst/>
            <a:gdLst/>
            <a:ahLst/>
            <a:cxnLst/>
            <a:rect l="l" t="t" r="r" b="b"/>
            <a:pathLst>
              <a:path w="9144000" h="1005840">
                <a:moveTo>
                  <a:pt x="9143790" y="0"/>
                </a:moveTo>
                <a:lnTo>
                  <a:pt x="0" y="0"/>
                </a:lnTo>
                <a:lnTo>
                  <a:pt x="0" y="726040"/>
                </a:lnTo>
                <a:lnTo>
                  <a:pt x="7808151" y="726422"/>
                </a:lnTo>
                <a:lnTo>
                  <a:pt x="7860569" y="727566"/>
                </a:lnTo>
                <a:lnTo>
                  <a:pt x="7912837" y="729465"/>
                </a:lnTo>
                <a:lnTo>
                  <a:pt x="7964949" y="732115"/>
                </a:lnTo>
                <a:lnTo>
                  <a:pt x="8016894" y="735510"/>
                </a:lnTo>
                <a:lnTo>
                  <a:pt x="8068665" y="739643"/>
                </a:lnTo>
                <a:lnTo>
                  <a:pt x="8120254" y="744511"/>
                </a:lnTo>
                <a:lnTo>
                  <a:pt x="8171652" y="750107"/>
                </a:lnTo>
                <a:lnTo>
                  <a:pt x="8222850" y="756426"/>
                </a:lnTo>
                <a:lnTo>
                  <a:pt x="8273842" y="763462"/>
                </a:lnTo>
                <a:lnTo>
                  <a:pt x="8324617" y="771210"/>
                </a:lnTo>
                <a:lnTo>
                  <a:pt x="8375168" y="779665"/>
                </a:lnTo>
                <a:lnTo>
                  <a:pt x="8425487" y="788820"/>
                </a:lnTo>
                <a:lnTo>
                  <a:pt x="8475565" y="798671"/>
                </a:lnTo>
                <a:lnTo>
                  <a:pt x="8525394" y="809212"/>
                </a:lnTo>
                <a:lnTo>
                  <a:pt x="8574966" y="820438"/>
                </a:lnTo>
                <a:lnTo>
                  <a:pt x="8624272" y="832342"/>
                </a:lnTo>
                <a:lnTo>
                  <a:pt x="8673304" y="844920"/>
                </a:lnTo>
                <a:lnTo>
                  <a:pt x="8722053" y="858166"/>
                </a:lnTo>
                <a:lnTo>
                  <a:pt x="8770512" y="872075"/>
                </a:lnTo>
                <a:lnTo>
                  <a:pt x="8818672" y="886641"/>
                </a:lnTo>
                <a:lnTo>
                  <a:pt x="8866524" y="901858"/>
                </a:lnTo>
                <a:lnTo>
                  <a:pt x="8914061" y="917722"/>
                </a:lnTo>
                <a:lnTo>
                  <a:pt x="8961274" y="934226"/>
                </a:lnTo>
                <a:lnTo>
                  <a:pt x="9008155" y="951365"/>
                </a:lnTo>
                <a:lnTo>
                  <a:pt x="9054695" y="969134"/>
                </a:lnTo>
                <a:lnTo>
                  <a:pt x="9100886" y="987528"/>
                </a:lnTo>
                <a:lnTo>
                  <a:pt x="9143790" y="1005324"/>
                </a:lnTo>
                <a:lnTo>
                  <a:pt x="9143790" y="0"/>
                </a:lnTo>
                <a:close/>
              </a:path>
            </a:pathLst>
          </a:custGeom>
          <a:solidFill>
            <a:srgbClr val="00ACED"/>
          </a:solidFill>
        </p:spPr>
        <p:txBody>
          <a:bodyPr wrap="square" lIns="0" tIns="0" rIns="0" bIns="0" rtlCol="0"/>
          <a:lstStyle/>
          <a:p>
            <a:endParaRPr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8">
            <a:clrChange>
              <a:clrFrom>
                <a:srgbClr val="00ACE1"/>
              </a:clrFrom>
              <a:clrTo>
                <a:srgbClr val="00ACE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1694" y="85927"/>
            <a:ext cx="1197306" cy="74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11" name="Text Box 7"/>
          <p:cNvSpPr txBox="1">
            <a:spLocks noChangeArrowheads="1"/>
          </p:cNvSpPr>
          <p:nvPr userDrawn="1"/>
        </p:nvSpPr>
        <p:spPr bwMode="auto">
          <a:xfrm>
            <a:off x="165100" y="6613525"/>
            <a:ext cx="460382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l">
              <a:defRPr/>
            </a:pPr>
            <a:fld id="{605083E8-4A3C-4C88-B9AE-C0E3E26731DE}" type="slidenum">
              <a:rPr lang="pt-BR" sz="900">
                <a:solidFill>
                  <a:srgbClr val="0058A0"/>
                </a:solidFill>
              </a:rPr>
              <a:pPr algn="l">
                <a:defRPr/>
              </a:pPr>
              <a:t>‹nº›</a:t>
            </a:fld>
            <a:endParaRPr lang="pt-BR" sz="900" dirty="0">
              <a:solidFill>
                <a:srgbClr val="0058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819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bg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hyperlink" Target="http://www.google.com.br/url?sa=i&amp;rct=j&amp;q=&amp;esrc=s&amp;frm=1&amp;source=images&amp;cd=&amp;cad=rja&amp;uact=8&amp;docid=BILgHJdNBxl1yM&amp;tbnid=7YvNUrQrUqnHWM:&amp;ved=0CAUQjRw&amp;url=http://www.apsengenharia.com.br/saibamais.htm&amp;ei=Q0XFU6qAG5XesATImIIw&amp;bvm=bv.70810081,d.cWc&amp;psig=AFQjCNH_mWnn2nVxOtCZ-6S9njIdPWHYcw&amp;ust=1405523560594167" TargetMode="Externa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12" Type="http://schemas.openxmlformats.org/officeDocument/2006/relationships/image" Target="../media/image2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9.jpeg"/><Relationship Id="rId11" Type="http://schemas.openxmlformats.org/officeDocument/2006/relationships/image" Target="../media/image24.jpeg"/><Relationship Id="rId5" Type="http://schemas.openxmlformats.org/officeDocument/2006/relationships/image" Target="../media/image18.png"/><Relationship Id="rId10" Type="http://schemas.openxmlformats.org/officeDocument/2006/relationships/image" Target="../media/image23.jpeg"/><Relationship Id="rId4" Type="http://schemas.openxmlformats.org/officeDocument/2006/relationships/image" Target="../media/image17.png"/><Relationship Id="rId9" Type="http://schemas.openxmlformats.org/officeDocument/2006/relationships/image" Target="../media/image22.jpeg"/><Relationship Id="rId14" Type="http://schemas.openxmlformats.org/officeDocument/2006/relationships/image" Target="../media/image27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8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9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9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1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64.jpeg"/><Relationship Id="rId4" Type="http://schemas.openxmlformats.org/officeDocument/2006/relationships/image" Target="../media/image63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7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9.jpe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9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1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9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9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9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9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9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9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9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9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9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9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84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86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9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9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9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89.png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9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9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9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9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35000"/>
            <a:lum/>
          </a:blip>
          <a:srcRect/>
          <a:stretch>
            <a:fillRect l="-8000" r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ext Box 6"/>
          <p:cNvSpPr txBox="1">
            <a:spLocks noChangeArrowheads="1"/>
          </p:cNvSpPr>
          <p:nvPr/>
        </p:nvSpPr>
        <p:spPr bwMode="auto">
          <a:xfrm>
            <a:off x="742950" y="6084609"/>
            <a:ext cx="2063750" cy="371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algn="l">
              <a:spcBef>
                <a:spcPct val="50000"/>
              </a:spcBef>
            </a:pPr>
            <a:r>
              <a:rPr lang="pt-BR" sz="1800" b="0" dirty="0" smtClean="0">
                <a:solidFill>
                  <a:schemeClr val="bg2">
                    <a:lumMod val="75000"/>
                  </a:schemeClr>
                </a:solidFill>
              </a:rPr>
              <a:t>Junho de 2018</a:t>
            </a:r>
            <a:endParaRPr lang="pt-BR" sz="1800" b="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" name="Título 3"/>
          <p:cNvSpPr>
            <a:spLocks noGrp="1"/>
          </p:cNvSpPr>
          <p:nvPr>
            <p:ph type="ctrTitle"/>
          </p:nvPr>
        </p:nvSpPr>
        <p:spPr>
          <a:xfrm>
            <a:off x="742950" y="4257536"/>
            <a:ext cx="8420100" cy="1026414"/>
          </a:xfrm>
        </p:spPr>
        <p:txBody>
          <a:bodyPr/>
          <a:lstStyle/>
          <a:p>
            <a:pPr algn="l"/>
            <a:r>
              <a:rPr lang="pt-BR" sz="2400" dirty="0" smtClean="0">
                <a:solidFill>
                  <a:schemeClr val="bg2">
                    <a:lumMod val="75000"/>
                  </a:schemeClr>
                </a:solidFill>
              </a:rPr>
              <a:t>Programa </a:t>
            </a:r>
            <a:r>
              <a:rPr lang="pt-BR" sz="2400" dirty="0">
                <a:solidFill>
                  <a:schemeClr val="bg2">
                    <a:lumMod val="75000"/>
                  </a:schemeClr>
                </a:solidFill>
              </a:rPr>
              <a:t>de Eficiência Energética</a:t>
            </a:r>
            <a:r>
              <a:rPr lang="pt-BR" sz="3200" dirty="0">
                <a:solidFill>
                  <a:schemeClr val="bg2">
                    <a:lumMod val="75000"/>
                  </a:schemeClr>
                </a:solidFill>
              </a:rPr>
              <a:t/>
            </a:r>
            <a:br>
              <a:rPr lang="pt-BR" sz="32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pt-BR" sz="1800" dirty="0">
                <a:solidFill>
                  <a:schemeClr val="bg2">
                    <a:lumMod val="75000"/>
                  </a:schemeClr>
                </a:solidFill>
              </a:rPr>
              <a:t>Escola de Engenharia de São Carlos - EESC</a:t>
            </a:r>
            <a:br>
              <a:rPr lang="pt-BR" sz="180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pt-BR" sz="1800" dirty="0">
                <a:solidFill>
                  <a:schemeClr val="bg2">
                    <a:lumMod val="75000"/>
                  </a:schemeClr>
                </a:solidFill>
              </a:rPr>
              <a:t>Universidade de São Paulo - </a:t>
            </a:r>
            <a:r>
              <a:rPr lang="pt-BR" sz="1800" dirty="0" smtClean="0">
                <a:solidFill>
                  <a:schemeClr val="bg2">
                    <a:lumMod val="75000"/>
                  </a:schemeClr>
                </a:solidFill>
              </a:rPr>
              <a:t>USP</a:t>
            </a:r>
            <a:endParaRPr lang="pt-BR" sz="3200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6" name="Picture 3" descr="Z:\Comunicacao\Logos\SELO\selo_EE_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911" y="2181468"/>
            <a:ext cx="6582089" cy="1665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2" name="Text Box 4"/>
          <p:cNvSpPr txBox="1">
            <a:spLocks noChangeArrowheads="1"/>
          </p:cNvSpPr>
          <p:nvPr/>
        </p:nvSpPr>
        <p:spPr bwMode="auto">
          <a:xfrm>
            <a:off x="736600" y="1807466"/>
            <a:ext cx="2713038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</a:rPr>
              <a:t>Programa Brasileiro de Etiquetagem (PBE)</a:t>
            </a:r>
            <a:r>
              <a:rPr lang="en-US" sz="2000" dirty="0">
                <a:solidFill>
                  <a:srgbClr val="004853"/>
                </a:solidFill>
                <a:latin typeface="+mn-lt"/>
                <a:ea typeface="+mn-ea"/>
              </a:rPr>
              <a:t> </a:t>
            </a:r>
          </a:p>
        </p:txBody>
      </p:sp>
      <p:sp>
        <p:nvSpPr>
          <p:cNvPr id="17413" name="Text Box 5"/>
          <p:cNvSpPr txBox="1">
            <a:spLocks noChangeArrowheads="1"/>
          </p:cNvSpPr>
          <p:nvPr/>
        </p:nvSpPr>
        <p:spPr bwMode="auto">
          <a:xfrm>
            <a:off x="685800" y="3777552"/>
            <a:ext cx="3475112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</a:rPr>
              <a:t>Coordenação do Instituto Nacional de Metrologia, Normalização e Qualidade Industrial (Inmetro) </a:t>
            </a:r>
            <a:endParaRPr lang="en-US" sz="2000" dirty="0">
              <a:solidFill>
                <a:srgbClr val="004853"/>
              </a:solidFill>
              <a:latin typeface="+mn-lt"/>
              <a:ea typeface="+mn-ea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912" y="1545304"/>
            <a:ext cx="4464496" cy="4464496"/>
          </a:xfrm>
          <a:prstGeom prst="rect">
            <a:avLst/>
          </a:prstGeom>
        </p:spPr>
      </p:pic>
      <p:sp>
        <p:nvSpPr>
          <p:cNvPr id="10" name="Título 2"/>
          <p:cNvSpPr txBox="1">
            <a:spLocks/>
          </p:cNvSpPr>
          <p:nvPr/>
        </p:nvSpPr>
        <p:spPr>
          <a:xfrm>
            <a:off x="355949" y="1"/>
            <a:ext cx="8225745" cy="8885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pt-BR" b="0" dirty="0"/>
              <a:t>PBE - Etiqueta Nacional de Eficiência Energética (ENCE) </a:t>
            </a:r>
          </a:p>
        </p:txBody>
      </p:sp>
    </p:spTree>
    <p:extLst>
      <p:ext uri="{BB962C8B-B14F-4D97-AF65-F5344CB8AC3E}">
        <p14:creationId xmlns:p14="http://schemas.microsoft.com/office/powerpoint/2010/main" val="28008453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“espírito” da Lei nº </a:t>
            </a:r>
            <a:r>
              <a:rPr lang="pt-BR" dirty="0" smtClean="0"/>
              <a:t>10.295/01</a:t>
            </a:r>
            <a:endParaRPr lang="pt-BR" dirty="0"/>
          </a:p>
        </p:txBody>
      </p:sp>
      <p:sp>
        <p:nvSpPr>
          <p:cNvPr id="6" name="Rectangle 11"/>
          <p:cNvSpPr>
            <a:spLocks noChangeArrowheads="1"/>
          </p:cNvSpPr>
          <p:nvPr/>
        </p:nvSpPr>
        <p:spPr bwMode="auto">
          <a:xfrm>
            <a:off x="114000" y="1654700"/>
            <a:ext cx="6048375" cy="390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342900" indent="-342900" algn="l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ingdings" pitchFamily="2" charset="2"/>
              <a:buChar char="§"/>
              <a:tabLst>
                <a:tab pos="2095500" algn="l"/>
                <a:tab pos="2571750" algn="l"/>
              </a:tabLst>
              <a:defRPr/>
            </a:pPr>
            <a:r>
              <a:rPr lang="pt-BR" sz="1400" dirty="0">
                <a:solidFill>
                  <a:srgbClr val="004853"/>
                </a:solidFill>
              </a:rPr>
              <a:t>Poder Executivo: prerrogativa para estabelecer índices mínimos de eficiência energética ou máximos de consumo específico para máquinas e equipamentos consumidores de energia</a:t>
            </a:r>
          </a:p>
          <a:p>
            <a:pPr marL="342900" indent="-342900" algn="l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ingdings" pitchFamily="2" charset="2"/>
              <a:buChar char="§"/>
              <a:tabLst>
                <a:tab pos="2095500" algn="l"/>
                <a:tab pos="2571750" algn="l"/>
              </a:tabLst>
              <a:defRPr/>
            </a:pPr>
            <a:r>
              <a:rPr lang="pt-BR" sz="1400" dirty="0">
                <a:solidFill>
                  <a:srgbClr val="004853"/>
                </a:solidFill>
              </a:rPr>
              <a:t>Mecanismos para promover a eficiência energética em edificações</a:t>
            </a:r>
          </a:p>
          <a:p>
            <a:pPr marL="342900" indent="-342900" algn="l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ingdings" pitchFamily="2" charset="2"/>
              <a:buChar char="§"/>
              <a:tabLst>
                <a:tab pos="2095500" algn="l"/>
                <a:tab pos="2571750" algn="l"/>
              </a:tabLst>
              <a:defRPr/>
            </a:pPr>
            <a:r>
              <a:rPr lang="pt-BR" sz="1400" dirty="0">
                <a:solidFill>
                  <a:srgbClr val="004853"/>
                </a:solidFill>
              </a:rPr>
              <a:t>Coordenação do </a:t>
            </a:r>
            <a:r>
              <a:rPr lang="pt-BR" sz="1400" dirty="0" smtClean="0">
                <a:solidFill>
                  <a:srgbClr val="004853"/>
                </a:solidFill>
              </a:rPr>
              <a:t>MME</a:t>
            </a:r>
            <a:endParaRPr lang="pt-BR" sz="1400" dirty="0">
              <a:solidFill>
                <a:srgbClr val="004853"/>
              </a:solidFill>
            </a:endParaRPr>
          </a:p>
          <a:p>
            <a:pPr marL="342900" indent="-342900" algn="l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ingdings" pitchFamily="2" charset="2"/>
              <a:buChar char="§"/>
              <a:tabLst>
                <a:tab pos="2095500" algn="l"/>
                <a:tab pos="2571750" algn="l"/>
              </a:tabLst>
              <a:defRPr/>
            </a:pPr>
            <a:r>
              <a:rPr lang="pt-BR" sz="1400" dirty="0">
                <a:solidFill>
                  <a:srgbClr val="004853"/>
                </a:solidFill>
              </a:rPr>
              <a:t>Participação da sociedade por meio de consultas e audiências públicas, e notificação à OMC</a:t>
            </a:r>
          </a:p>
          <a:p>
            <a:pPr marL="342900" indent="-342900" algn="l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ingdings" pitchFamily="2" charset="2"/>
              <a:buChar char="§"/>
              <a:tabLst>
                <a:tab pos="2095500" algn="l"/>
                <a:tab pos="2571750" algn="l"/>
              </a:tabLst>
              <a:defRPr/>
            </a:pPr>
            <a:r>
              <a:rPr lang="pt-BR" sz="1400" dirty="0">
                <a:solidFill>
                  <a:srgbClr val="004853"/>
                </a:solidFill>
              </a:rPr>
              <a:t>Caráter compulsório</a:t>
            </a:r>
          </a:p>
          <a:p>
            <a:pPr marL="342900" indent="-342900" algn="l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ingdings" pitchFamily="2" charset="2"/>
              <a:buChar char="§"/>
              <a:tabLst>
                <a:tab pos="2095500" algn="l"/>
                <a:tab pos="2571750" algn="l"/>
              </a:tabLst>
              <a:defRPr/>
            </a:pPr>
            <a:r>
              <a:rPr lang="pt-BR" sz="1400" dirty="0">
                <a:solidFill>
                  <a:srgbClr val="004853"/>
                </a:solidFill>
              </a:rPr>
              <a:t>Portarias Intergovernamentais - MME, MCT e MDIC</a:t>
            </a:r>
          </a:p>
          <a:p>
            <a:pPr marL="342900" indent="-342900" algn="l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ingdings" pitchFamily="2" charset="2"/>
              <a:buChar char="§"/>
              <a:tabLst>
                <a:tab pos="2095500" algn="l"/>
                <a:tab pos="2571750" algn="l"/>
              </a:tabLst>
              <a:defRPr/>
            </a:pPr>
            <a:r>
              <a:rPr lang="pt-BR" sz="1400" dirty="0">
                <a:solidFill>
                  <a:srgbClr val="004853"/>
                </a:solidFill>
              </a:rPr>
              <a:t>Objetivo de longo prazo: Transformação do Mercado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ingdings" pitchFamily="2" charset="2"/>
              <a:buChar char="§"/>
              <a:tabLst>
                <a:tab pos="2095500" algn="l"/>
                <a:tab pos="2571750" algn="l"/>
              </a:tabLst>
              <a:defRPr/>
            </a:pPr>
            <a:endParaRPr lang="pt-BR" dirty="0">
              <a:latin typeface="Arial" charset="0"/>
            </a:endParaRPr>
          </a:p>
        </p:txBody>
      </p:sp>
      <p:pic>
        <p:nvPicPr>
          <p:cNvPr id="25604" name="Picture 12" descr="Cópia (2) de etiquet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3350" y="2406594"/>
            <a:ext cx="1382712" cy="1951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tângulo 2"/>
          <p:cNvSpPr/>
          <p:nvPr/>
        </p:nvSpPr>
        <p:spPr>
          <a:xfrm>
            <a:off x="7170739" y="1387400"/>
            <a:ext cx="1879600" cy="8318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pt-BR" sz="1600" dirty="0">
                <a:solidFill>
                  <a:schemeClr val="accent3">
                    <a:lumMod val="75000"/>
                  </a:schemeClr>
                </a:solidFill>
                <a:latin typeface="Arial" charset="0"/>
              </a:rPr>
              <a:t>PROGRAMA BRASILEIRO</a:t>
            </a:r>
          </a:p>
          <a:p>
            <a:pPr algn="ctr">
              <a:defRPr/>
            </a:pPr>
            <a:r>
              <a:rPr lang="pt-BR" sz="1600" dirty="0">
                <a:solidFill>
                  <a:schemeClr val="accent3">
                    <a:lumMod val="75000"/>
                  </a:schemeClr>
                </a:solidFill>
                <a:latin typeface="Arial" charset="0"/>
              </a:rPr>
              <a:t>ETIQUETAGEM</a:t>
            </a:r>
            <a:endParaRPr lang="pt-BR" sz="1600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25606" name="Picture 21" descr="Selos CONPET e PROCE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9144" y="4375325"/>
            <a:ext cx="1585912" cy="187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tângulo 10"/>
          <p:cNvSpPr/>
          <p:nvPr/>
        </p:nvSpPr>
        <p:spPr>
          <a:xfrm>
            <a:off x="7948181" y="4528518"/>
            <a:ext cx="1655762" cy="157003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pt-BR" sz="1600" dirty="0">
                <a:solidFill>
                  <a:schemeClr val="accent3">
                    <a:lumMod val="75000"/>
                  </a:schemeClr>
                </a:solidFill>
                <a:latin typeface="Arial" charset="0"/>
              </a:rPr>
              <a:t>SELOS DE EFICIÊNCIA ENERGÉTICA</a:t>
            </a:r>
          </a:p>
          <a:p>
            <a:pPr>
              <a:defRPr/>
            </a:pPr>
            <a:endParaRPr lang="pt-BR" sz="1600" dirty="0">
              <a:solidFill>
                <a:schemeClr val="accent3">
                  <a:lumMod val="75000"/>
                </a:schemeClr>
              </a:solidFill>
              <a:latin typeface="Arial" charset="0"/>
            </a:endParaRPr>
          </a:p>
          <a:p>
            <a:pPr>
              <a:defRPr/>
            </a:pPr>
            <a:r>
              <a:rPr lang="pt-BR" sz="1600" dirty="0">
                <a:solidFill>
                  <a:schemeClr val="accent1">
                    <a:lumMod val="75000"/>
                  </a:schemeClr>
                </a:solidFill>
                <a:latin typeface="Arial" charset="0"/>
              </a:rPr>
              <a:t>CONPET</a:t>
            </a:r>
            <a:r>
              <a:rPr lang="pt-BR" sz="1600" dirty="0">
                <a:solidFill>
                  <a:schemeClr val="accent3">
                    <a:lumMod val="75000"/>
                  </a:schemeClr>
                </a:solidFill>
                <a:latin typeface="Arial" charset="0"/>
              </a:rPr>
              <a:t> e</a:t>
            </a:r>
          </a:p>
          <a:p>
            <a:pPr>
              <a:defRPr/>
            </a:pPr>
            <a:r>
              <a:rPr lang="pt-BR" sz="1600" dirty="0">
                <a:solidFill>
                  <a:srgbClr val="FF0000"/>
                </a:solidFill>
                <a:latin typeface="Arial" charset="0"/>
              </a:rPr>
              <a:t>PROCEL</a:t>
            </a:r>
            <a:endParaRPr lang="pt-BR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29834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otencial de eficiência </a:t>
            </a:r>
            <a:r>
              <a:rPr lang="pt-BR" dirty="0" smtClean="0"/>
              <a:t>energética</a:t>
            </a:r>
            <a:endParaRPr lang="pt-BR" dirty="0"/>
          </a:p>
        </p:txBody>
      </p:sp>
      <p:sp>
        <p:nvSpPr>
          <p:cNvPr id="40964" name="Rectangle 4"/>
          <p:cNvSpPr>
            <a:spLocks noChangeArrowheads="1"/>
          </p:cNvSpPr>
          <p:nvPr/>
        </p:nvSpPr>
        <p:spPr bwMode="auto">
          <a:xfrm>
            <a:off x="560391" y="1459148"/>
            <a:ext cx="8785225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just"/>
            <a:r>
              <a:rPr lang="pt-BR" altLang="pt-BR" sz="1400" u="sng" dirty="0">
                <a:solidFill>
                  <a:srgbClr val="004853"/>
                </a:solidFill>
              </a:rPr>
              <a:t>Potencial de Mercado</a:t>
            </a:r>
            <a:r>
              <a:rPr lang="pt-BR" altLang="pt-BR" sz="1400" dirty="0">
                <a:solidFill>
                  <a:srgbClr val="004853"/>
                </a:solidFill>
              </a:rPr>
              <a:t>: compreende o resultado de medidas que podem ser introduzidas “por si mesmas”, ou seja, aquelas cuja adoção traria redução de custos ao usuário.</a:t>
            </a:r>
          </a:p>
          <a:p>
            <a:pPr algn="just"/>
            <a:endParaRPr lang="pt-BR" altLang="pt-BR" sz="1400" dirty="0">
              <a:solidFill>
                <a:srgbClr val="004853"/>
              </a:solidFill>
            </a:endParaRPr>
          </a:p>
          <a:p>
            <a:pPr algn="just"/>
            <a:r>
              <a:rPr lang="pt-BR" altLang="pt-BR" sz="1400" u="sng" dirty="0">
                <a:solidFill>
                  <a:srgbClr val="004853"/>
                </a:solidFill>
              </a:rPr>
              <a:t>Potencial Econômico</a:t>
            </a:r>
            <a:r>
              <a:rPr lang="pt-BR" altLang="pt-BR" sz="1400" dirty="0">
                <a:solidFill>
                  <a:srgbClr val="004853"/>
                </a:solidFill>
              </a:rPr>
              <a:t>: compreende o conjunto de medidas que têm viabilidade econômica, porém exigem condições de contorno que induzam à sua efetiva implantação.</a:t>
            </a:r>
          </a:p>
          <a:p>
            <a:pPr algn="just"/>
            <a:endParaRPr lang="pt-BR" altLang="pt-BR" sz="1400" dirty="0">
              <a:solidFill>
                <a:srgbClr val="004853"/>
              </a:solidFill>
            </a:endParaRPr>
          </a:p>
          <a:p>
            <a:pPr algn="just"/>
            <a:r>
              <a:rPr lang="pt-BR" altLang="pt-BR" sz="1400" u="sng" dirty="0">
                <a:solidFill>
                  <a:srgbClr val="004853"/>
                </a:solidFill>
              </a:rPr>
              <a:t>Potencial Técnico</a:t>
            </a:r>
            <a:r>
              <a:rPr lang="pt-BR" altLang="pt-BR" sz="1400" dirty="0">
                <a:solidFill>
                  <a:srgbClr val="004853"/>
                </a:solidFill>
              </a:rPr>
              <a:t>: é aquele que estabelece um limite teórico para penetração das medidas de eficiência energética, dado pela substituição de todos os usos da energia considerados por equivalentes com a tecnologia mais eficiente disponível.</a:t>
            </a:r>
          </a:p>
        </p:txBody>
      </p:sp>
      <p:pic>
        <p:nvPicPr>
          <p:cNvPr id="4096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03" y="4404512"/>
            <a:ext cx="6945313" cy="148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615403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otencial de eficiência </a:t>
            </a:r>
            <a:r>
              <a:rPr lang="pt-BR" dirty="0" smtClean="0"/>
              <a:t>energética</a:t>
            </a:r>
            <a:endParaRPr lang="pt-BR" dirty="0"/>
          </a:p>
        </p:txBody>
      </p:sp>
      <p:sp>
        <p:nvSpPr>
          <p:cNvPr id="47108" name="Rectangle 4"/>
          <p:cNvSpPr>
            <a:spLocks noChangeArrowheads="1"/>
          </p:cNvSpPr>
          <p:nvPr/>
        </p:nvSpPr>
        <p:spPr bwMode="auto">
          <a:xfrm>
            <a:off x="1423988" y="1917888"/>
            <a:ext cx="1295400" cy="2087562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shade val="76471"/>
                  <a:invGamma/>
                </a:schemeClr>
              </a:gs>
              <a:gs pos="50000">
                <a:schemeClr val="accent1">
                  <a:alpha val="99001"/>
                </a:schemeClr>
              </a:gs>
              <a:gs pos="100000">
                <a:schemeClr val="accent1">
                  <a:gamma/>
                  <a:shade val="76471"/>
                  <a:invGamma/>
                </a:schemeClr>
              </a:gs>
            </a:gsLst>
            <a:lin ang="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pt-BR" altLang="pt-BR" sz="2000">
              <a:effectLst>
                <a:outerShdw blurRad="38100" dist="38100" dir="2700000" algn="tl">
                  <a:srgbClr val="FFFFFF"/>
                </a:outerShdw>
              </a:effectLst>
              <a:latin typeface="Tahoma" pitchFamily="34" charset="0"/>
              <a:cs typeface="Arial" pitchFamily="34" charset="0"/>
            </a:endParaRPr>
          </a:p>
        </p:txBody>
      </p:sp>
      <p:sp>
        <p:nvSpPr>
          <p:cNvPr id="47109" name="Rectangle 5"/>
          <p:cNvSpPr>
            <a:spLocks noChangeArrowheads="1"/>
          </p:cNvSpPr>
          <p:nvPr/>
        </p:nvSpPr>
        <p:spPr bwMode="auto">
          <a:xfrm>
            <a:off x="4448178" y="1814703"/>
            <a:ext cx="1655763" cy="1368425"/>
          </a:xfrm>
          <a:prstGeom prst="rect">
            <a:avLst/>
          </a:prstGeom>
          <a:gradFill rotWithShape="1">
            <a:gsLst>
              <a:gs pos="0">
                <a:srgbClr val="0000FF">
                  <a:gamma/>
                  <a:shade val="46275"/>
                  <a:invGamma/>
                </a:srgbClr>
              </a:gs>
              <a:gs pos="50000">
                <a:srgbClr val="0000FF"/>
              </a:gs>
              <a:gs pos="100000">
                <a:srgbClr val="0000FF">
                  <a:gamma/>
                  <a:shade val="46275"/>
                  <a:invGamma/>
                </a:srgbClr>
              </a:gs>
            </a:gsLst>
            <a:lin ang="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pt-BR" altLang="pt-BR" sz="18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  <a:cs typeface="Arial" pitchFamily="34" charset="0"/>
              </a:rPr>
              <a:t>10,6%</a:t>
            </a:r>
          </a:p>
          <a:p>
            <a:pPr algn="ctr"/>
            <a:r>
              <a:rPr lang="pt-BR" altLang="pt-BR" sz="18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  <a:cs typeface="Arial" pitchFamily="34" charset="0"/>
              </a:rPr>
              <a:t>=</a:t>
            </a:r>
          </a:p>
          <a:p>
            <a:pPr algn="ctr"/>
            <a:r>
              <a:rPr lang="pt-BR" altLang="pt-BR" sz="18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  <a:cs typeface="Arial" pitchFamily="34" charset="0"/>
              </a:rPr>
              <a:t>6 TWh</a:t>
            </a:r>
            <a:endParaRPr lang="en-US" altLang="pt-BR" sz="180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itchFamily="34" charset="0"/>
              <a:cs typeface="Arial" pitchFamily="34" charset="0"/>
            </a:endParaRPr>
          </a:p>
        </p:txBody>
      </p:sp>
      <p:sp>
        <p:nvSpPr>
          <p:cNvPr id="47110" name="Rectangle 6"/>
          <p:cNvSpPr>
            <a:spLocks noChangeArrowheads="1"/>
          </p:cNvSpPr>
          <p:nvPr/>
        </p:nvSpPr>
        <p:spPr bwMode="auto">
          <a:xfrm>
            <a:off x="4448178" y="1598800"/>
            <a:ext cx="1655763" cy="431800"/>
          </a:xfrm>
          <a:prstGeom prst="rect">
            <a:avLst/>
          </a:prstGeom>
          <a:gradFill rotWithShape="1">
            <a:gsLst>
              <a:gs pos="0">
                <a:srgbClr val="0000FF">
                  <a:gamma/>
                  <a:shade val="46275"/>
                  <a:invGamma/>
                </a:srgbClr>
              </a:gs>
              <a:gs pos="50000">
                <a:srgbClr val="0000FF"/>
              </a:gs>
              <a:gs pos="100000">
                <a:srgbClr val="0000FF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pt-BR" altLang="pt-BR" sz="18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  <a:cs typeface="Arial" pitchFamily="34" charset="0"/>
              </a:rPr>
              <a:t>44%</a:t>
            </a:r>
            <a:endParaRPr lang="en-US" altLang="pt-BR" sz="180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itchFamily="34" charset="0"/>
              <a:cs typeface="Arial" pitchFamily="34" charset="0"/>
            </a:endParaRPr>
          </a:p>
        </p:txBody>
      </p:sp>
      <p:sp>
        <p:nvSpPr>
          <p:cNvPr id="47111" name="Rectangle 7"/>
          <p:cNvSpPr>
            <a:spLocks noChangeArrowheads="1"/>
          </p:cNvSpPr>
          <p:nvPr/>
        </p:nvSpPr>
        <p:spPr bwMode="auto">
          <a:xfrm>
            <a:off x="4448178" y="2030603"/>
            <a:ext cx="1655763" cy="479425"/>
          </a:xfrm>
          <a:prstGeom prst="rect">
            <a:avLst/>
          </a:prstGeom>
          <a:gradFill rotWithShape="1">
            <a:gsLst>
              <a:gs pos="0">
                <a:srgbClr val="0000FF">
                  <a:gamma/>
                  <a:shade val="46275"/>
                  <a:invGamma/>
                </a:srgbClr>
              </a:gs>
              <a:gs pos="50000">
                <a:srgbClr val="0000FF"/>
              </a:gs>
              <a:gs pos="100000">
                <a:srgbClr val="0000FF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pt-BR" altLang="pt-BR" sz="18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  <a:cs typeface="Arial" pitchFamily="34" charset="0"/>
              </a:rPr>
              <a:t>20%</a:t>
            </a:r>
            <a:endParaRPr lang="en-US" altLang="pt-BR" sz="180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itchFamily="34" charset="0"/>
              <a:cs typeface="Arial" pitchFamily="34" charset="0"/>
            </a:endParaRPr>
          </a:p>
        </p:txBody>
      </p:sp>
      <p:sp>
        <p:nvSpPr>
          <p:cNvPr id="47112" name="Rectangle 8"/>
          <p:cNvSpPr>
            <a:spLocks noChangeArrowheads="1"/>
          </p:cNvSpPr>
          <p:nvPr/>
        </p:nvSpPr>
        <p:spPr bwMode="auto">
          <a:xfrm>
            <a:off x="4448178" y="2462405"/>
            <a:ext cx="1655763" cy="504825"/>
          </a:xfrm>
          <a:prstGeom prst="rect">
            <a:avLst/>
          </a:prstGeom>
          <a:gradFill rotWithShape="1">
            <a:gsLst>
              <a:gs pos="0">
                <a:srgbClr val="0000FF">
                  <a:gamma/>
                  <a:shade val="46275"/>
                  <a:invGamma/>
                </a:srgbClr>
              </a:gs>
              <a:gs pos="50000">
                <a:srgbClr val="0000FF"/>
              </a:gs>
              <a:gs pos="100000">
                <a:srgbClr val="0000FF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pt-BR" altLang="pt-BR" sz="18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  <a:cs typeface="Arial" pitchFamily="34" charset="0"/>
              </a:rPr>
              <a:t>17%</a:t>
            </a:r>
            <a:endParaRPr lang="en-US" altLang="pt-BR" sz="180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itchFamily="34" charset="0"/>
              <a:cs typeface="Arial" pitchFamily="34" charset="0"/>
            </a:endParaRPr>
          </a:p>
        </p:txBody>
      </p:sp>
      <p:sp>
        <p:nvSpPr>
          <p:cNvPr id="47113" name="Rectangle 9"/>
          <p:cNvSpPr>
            <a:spLocks noChangeArrowheads="1"/>
          </p:cNvSpPr>
          <p:nvPr/>
        </p:nvSpPr>
        <p:spPr bwMode="auto">
          <a:xfrm>
            <a:off x="4448178" y="2894205"/>
            <a:ext cx="1655763" cy="504825"/>
          </a:xfrm>
          <a:prstGeom prst="rect">
            <a:avLst/>
          </a:prstGeom>
          <a:gradFill rotWithShape="1">
            <a:gsLst>
              <a:gs pos="0">
                <a:srgbClr val="0000FF">
                  <a:gamma/>
                  <a:shade val="46275"/>
                  <a:invGamma/>
                </a:srgbClr>
              </a:gs>
              <a:gs pos="50000">
                <a:srgbClr val="0000FF"/>
              </a:gs>
              <a:gs pos="100000">
                <a:srgbClr val="0000FF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pt-BR" altLang="pt-BR" sz="18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  <a:cs typeface="Arial" pitchFamily="34" charset="0"/>
              </a:rPr>
              <a:t>19%</a:t>
            </a:r>
            <a:endParaRPr lang="en-US" altLang="pt-BR" sz="180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itchFamily="34" charset="0"/>
              <a:cs typeface="Arial" pitchFamily="34" charset="0"/>
            </a:endParaRPr>
          </a:p>
        </p:txBody>
      </p:sp>
      <p:sp>
        <p:nvSpPr>
          <p:cNvPr id="47114" name="Text Box 10"/>
          <p:cNvSpPr txBox="1">
            <a:spLocks noChangeArrowheads="1"/>
          </p:cNvSpPr>
          <p:nvPr/>
        </p:nvSpPr>
        <p:spPr bwMode="auto">
          <a:xfrm>
            <a:off x="7155137" y="1493400"/>
            <a:ext cx="2233613" cy="18892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lnSpc>
                <a:spcPct val="150000"/>
              </a:lnSpc>
              <a:spcBef>
                <a:spcPct val="50000"/>
              </a:spcBef>
            </a:pPr>
            <a:r>
              <a:rPr lang="pt-BR" altLang="pt-BR" sz="1600" dirty="0">
                <a:solidFill>
                  <a:srgbClr val="004853"/>
                </a:solidFill>
              </a:rPr>
              <a:t>Iluminação</a:t>
            </a:r>
          </a:p>
          <a:p>
            <a:pPr algn="l">
              <a:lnSpc>
                <a:spcPct val="150000"/>
              </a:lnSpc>
              <a:spcBef>
                <a:spcPct val="50000"/>
              </a:spcBef>
            </a:pPr>
            <a:r>
              <a:rPr lang="pt-BR" altLang="pt-BR" sz="1600" dirty="0">
                <a:solidFill>
                  <a:srgbClr val="004853"/>
                </a:solidFill>
              </a:rPr>
              <a:t>Refrigeração</a:t>
            </a:r>
          </a:p>
          <a:p>
            <a:pPr algn="l">
              <a:lnSpc>
                <a:spcPct val="150000"/>
              </a:lnSpc>
              <a:spcBef>
                <a:spcPct val="50000"/>
              </a:spcBef>
            </a:pPr>
            <a:r>
              <a:rPr lang="pt-BR" altLang="pt-BR" sz="1600" dirty="0">
                <a:solidFill>
                  <a:srgbClr val="004853"/>
                </a:solidFill>
              </a:rPr>
              <a:t>Ar Condicionado</a:t>
            </a:r>
          </a:p>
          <a:p>
            <a:pPr algn="l">
              <a:lnSpc>
                <a:spcPct val="150000"/>
              </a:lnSpc>
              <a:spcBef>
                <a:spcPct val="50000"/>
              </a:spcBef>
            </a:pPr>
            <a:r>
              <a:rPr lang="pt-BR" altLang="pt-BR" sz="1600" dirty="0">
                <a:solidFill>
                  <a:srgbClr val="004853"/>
                </a:solidFill>
              </a:rPr>
              <a:t>Outros</a:t>
            </a:r>
            <a:endParaRPr lang="en-US" altLang="pt-BR" sz="1600" dirty="0">
              <a:solidFill>
                <a:srgbClr val="004853"/>
              </a:solidFill>
            </a:endParaRPr>
          </a:p>
        </p:txBody>
      </p:sp>
      <p:sp>
        <p:nvSpPr>
          <p:cNvPr id="47115" name="Text Box 11"/>
          <p:cNvSpPr txBox="1">
            <a:spLocks noChangeArrowheads="1"/>
          </p:cNvSpPr>
          <p:nvPr/>
        </p:nvSpPr>
        <p:spPr bwMode="auto">
          <a:xfrm>
            <a:off x="1352553" y="2565593"/>
            <a:ext cx="1370013" cy="915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r>
              <a:rPr lang="pt-BR" altLang="pt-BR" sz="180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  <a:cs typeface="Arial" pitchFamily="34" charset="0"/>
              </a:rPr>
              <a:t>Consumo Anual</a:t>
            </a:r>
          </a:p>
          <a:p>
            <a:pPr algn="ctr"/>
            <a:r>
              <a:rPr lang="pt-BR" altLang="pt-BR" sz="180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  <a:cs typeface="Arial" pitchFamily="34" charset="0"/>
              </a:rPr>
              <a:t>56 TWh</a:t>
            </a:r>
            <a:endParaRPr lang="en-US" altLang="pt-BR" sz="1800"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  <a:cs typeface="Arial" pitchFamily="34" charset="0"/>
            </a:endParaRPr>
          </a:p>
        </p:txBody>
      </p:sp>
      <p:grpSp>
        <p:nvGrpSpPr>
          <p:cNvPr id="47116" name="Group 12"/>
          <p:cNvGrpSpPr>
            <a:grpSpLocks/>
          </p:cNvGrpSpPr>
          <p:nvPr/>
        </p:nvGrpSpPr>
        <p:grpSpPr bwMode="auto">
          <a:xfrm>
            <a:off x="1423988" y="1916305"/>
            <a:ext cx="1295400" cy="366713"/>
            <a:chOff x="657" y="1207"/>
            <a:chExt cx="816" cy="231"/>
          </a:xfrm>
        </p:grpSpPr>
        <p:sp>
          <p:nvSpPr>
            <p:cNvPr id="47117" name="Rectangle 13"/>
            <p:cNvSpPr>
              <a:spLocks noChangeArrowheads="1"/>
            </p:cNvSpPr>
            <p:nvPr/>
          </p:nvSpPr>
          <p:spPr bwMode="auto">
            <a:xfrm>
              <a:off x="657" y="1208"/>
              <a:ext cx="816" cy="226"/>
            </a:xfrm>
            <a:prstGeom prst="rect">
              <a:avLst/>
            </a:prstGeom>
            <a:gradFill rotWithShape="1">
              <a:gsLst>
                <a:gs pos="0">
                  <a:srgbClr val="0000FF">
                    <a:gamma/>
                    <a:shade val="46275"/>
                    <a:invGamma/>
                  </a:srgbClr>
                </a:gs>
                <a:gs pos="50000">
                  <a:srgbClr val="0000FF"/>
                </a:gs>
                <a:gs pos="100000">
                  <a:srgbClr val="0000FF">
                    <a:gamma/>
                    <a:shade val="46275"/>
                    <a:invGamma/>
                  </a:srgbClr>
                </a:gs>
              </a:gsLst>
              <a:lin ang="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pt-BR" altLang="pt-BR" sz="18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  <a:cs typeface="Arial" pitchFamily="34" charset="0"/>
              </a:endParaRPr>
            </a:p>
          </p:txBody>
        </p:sp>
        <p:sp>
          <p:nvSpPr>
            <p:cNvPr id="47118" name="Text Box 14"/>
            <p:cNvSpPr txBox="1">
              <a:spLocks noChangeArrowheads="1"/>
            </p:cNvSpPr>
            <p:nvPr/>
          </p:nvSpPr>
          <p:spPr bwMode="auto">
            <a:xfrm>
              <a:off x="657" y="1207"/>
              <a:ext cx="771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/>
              <a:r>
                <a:rPr lang="pt-BR" altLang="pt-BR" sz="18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Tahoma" pitchFamily="34" charset="0"/>
                  <a:cs typeface="Arial" pitchFamily="34" charset="0"/>
                </a:rPr>
                <a:t>10,6%</a:t>
              </a:r>
              <a:endParaRPr lang="en-US" altLang="pt-BR" sz="1800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  <a:cs typeface="Arial" pitchFamily="34" charset="0"/>
              </a:endParaRPr>
            </a:p>
          </p:txBody>
        </p:sp>
      </p:grpSp>
      <p:sp>
        <p:nvSpPr>
          <p:cNvPr id="47119" name="Text Box 15"/>
          <p:cNvSpPr txBox="1">
            <a:spLocks noChangeArrowheads="1"/>
          </p:cNvSpPr>
          <p:nvPr/>
        </p:nvSpPr>
        <p:spPr bwMode="auto">
          <a:xfrm rot="10800000">
            <a:off x="411819" y="1844864"/>
            <a:ext cx="1046440" cy="2212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anchor="ctr" anchorCtr="1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altLang="pt-BR" sz="2800" dirty="0">
                <a:solidFill>
                  <a:srgbClr val="004853"/>
                </a:solidFill>
              </a:rPr>
              <a:t>Segmento Comercial</a:t>
            </a:r>
            <a:endParaRPr lang="en-US" altLang="pt-BR" sz="2800" dirty="0">
              <a:solidFill>
                <a:srgbClr val="004853"/>
              </a:solidFill>
            </a:endParaRPr>
          </a:p>
        </p:txBody>
      </p:sp>
      <p:sp>
        <p:nvSpPr>
          <p:cNvPr id="47120" name="Text Box 16"/>
          <p:cNvSpPr txBox="1">
            <a:spLocks noChangeArrowheads="1"/>
          </p:cNvSpPr>
          <p:nvPr/>
        </p:nvSpPr>
        <p:spPr bwMode="auto">
          <a:xfrm rot="10800000">
            <a:off x="411819" y="4168963"/>
            <a:ext cx="1046440" cy="2212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anchor="ctr" anchorCtr="1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altLang="pt-BR" sz="2800" dirty="0">
                <a:solidFill>
                  <a:srgbClr val="004853"/>
                </a:solidFill>
              </a:rPr>
              <a:t>Segmento Industrial</a:t>
            </a:r>
            <a:endParaRPr lang="en-US" altLang="pt-BR" sz="2800" dirty="0">
              <a:solidFill>
                <a:srgbClr val="004853"/>
              </a:solidFill>
            </a:endParaRPr>
          </a:p>
        </p:txBody>
      </p:sp>
      <p:sp>
        <p:nvSpPr>
          <p:cNvPr id="47121" name="Rectangle 17"/>
          <p:cNvSpPr>
            <a:spLocks noChangeArrowheads="1"/>
          </p:cNvSpPr>
          <p:nvPr/>
        </p:nvSpPr>
        <p:spPr bwMode="auto">
          <a:xfrm>
            <a:off x="1423988" y="4365813"/>
            <a:ext cx="1295400" cy="2087562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shade val="6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66275"/>
                  <a:invGamma/>
                </a:schemeClr>
              </a:gs>
            </a:gsLst>
            <a:lin ang="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pt-BR" altLang="pt-BR" sz="2000">
              <a:effectLst>
                <a:outerShdw blurRad="38100" dist="38100" dir="2700000" algn="tl">
                  <a:srgbClr val="FFFFFF"/>
                </a:outerShdw>
              </a:effectLst>
              <a:latin typeface="Tahoma" pitchFamily="34" charset="0"/>
              <a:cs typeface="Arial" pitchFamily="34" charset="0"/>
            </a:endParaRPr>
          </a:p>
        </p:txBody>
      </p:sp>
      <p:sp>
        <p:nvSpPr>
          <p:cNvPr id="47122" name="Text Box 18"/>
          <p:cNvSpPr txBox="1">
            <a:spLocks noChangeArrowheads="1"/>
          </p:cNvSpPr>
          <p:nvPr/>
        </p:nvSpPr>
        <p:spPr bwMode="auto">
          <a:xfrm>
            <a:off x="1423991" y="5084950"/>
            <a:ext cx="1296987" cy="915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r>
              <a:rPr lang="pt-BR" altLang="pt-BR" sz="1800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  <a:cs typeface="Arial" pitchFamily="34" charset="0"/>
              </a:rPr>
              <a:t>Consumo Anual</a:t>
            </a:r>
          </a:p>
          <a:p>
            <a:pPr algn="ctr"/>
            <a:r>
              <a:rPr lang="pt-BR" altLang="pt-BR" sz="1800" dirty="0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  <a:cs typeface="Arial" pitchFamily="34" charset="0"/>
              </a:rPr>
              <a:t>164 </a:t>
            </a:r>
            <a:r>
              <a:rPr lang="pt-BR" altLang="pt-BR" sz="1800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  <a:cs typeface="Arial" pitchFamily="34" charset="0"/>
              </a:rPr>
              <a:t>TWh</a:t>
            </a:r>
            <a:endParaRPr lang="en-US" altLang="pt-BR" sz="1800" dirty="0">
              <a:effectLst>
                <a:outerShdw blurRad="38100" dist="38100" dir="2700000" algn="tl">
                  <a:srgbClr val="C0C0C0"/>
                </a:outerShdw>
              </a:effectLst>
              <a:latin typeface="Tahoma" pitchFamily="34" charset="0"/>
              <a:cs typeface="Arial" pitchFamily="34" charset="0"/>
            </a:endParaRPr>
          </a:p>
        </p:txBody>
      </p:sp>
      <p:grpSp>
        <p:nvGrpSpPr>
          <p:cNvPr id="47123" name="Group 19"/>
          <p:cNvGrpSpPr>
            <a:grpSpLocks/>
          </p:cNvGrpSpPr>
          <p:nvPr/>
        </p:nvGrpSpPr>
        <p:grpSpPr bwMode="auto">
          <a:xfrm>
            <a:off x="1423988" y="4326125"/>
            <a:ext cx="1295400" cy="503238"/>
            <a:chOff x="657" y="2750"/>
            <a:chExt cx="816" cy="317"/>
          </a:xfrm>
        </p:grpSpPr>
        <p:sp>
          <p:nvSpPr>
            <p:cNvPr id="47124" name="Rectangle 20"/>
            <p:cNvSpPr>
              <a:spLocks noChangeArrowheads="1"/>
            </p:cNvSpPr>
            <p:nvPr/>
          </p:nvSpPr>
          <p:spPr bwMode="auto">
            <a:xfrm>
              <a:off x="657" y="2750"/>
              <a:ext cx="816" cy="317"/>
            </a:xfrm>
            <a:prstGeom prst="rect">
              <a:avLst/>
            </a:prstGeom>
            <a:gradFill rotWithShape="1">
              <a:gsLst>
                <a:gs pos="0">
                  <a:srgbClr val="0000FF">
                    <a:gamma/>
                    <a:shade val="46275"/>
                    <a:invGamma/>
                  </a:srgbClr>
                </a:gs>
                <a:gs pos="50000">
                  <a:srgbClr val="0000FF"/>
                </a:gs>
                <a:gs pos="100000">
                  <a:srgbClr val="0000FF">
                    <a:gamma/>
                    <a:shade val="46275"/>
                    <a:invGamma/>
                  </a:srgbClr>
                </a:gs>
              </a:gsLst>
              <a:lin ang="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pt-BR" altLang="pt-BR" sz="18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  <a:cs typeface="Arial" pitchFamily="34" charset="0"/>
              </a:endParaRPr>
            </a:p>
          </p:txBody>
        </p:sp>
        <p:sp>
          <p:nvSpPr>
            <p:cNvPr id="47125" name="Text Box 21"/>
            <p:cNvSpPr txBox="1">
              <a:spLocks noChangeArrowheads="1"/>
            </p:cNvSpPr>
            <p:nvPr/>
          </p:nvSpPr>
          <p:spPr bwMode="auto">
            <a:xfrm>
              <a:off x="657" y="2836"/>
              <a:ext cx="771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/>
              <a:r>
                <a:rPr lang="pt-BR" altLang="pt-BR" sz="1800">
                  <a:solidFill>
                    <a:schemeClr val="bg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Tahoma" pitchFamily="34" charset="0"/>
                  <a:cs typeface="Arial" pitchFamily="34" charset="0"/>
                </a:rPr>
                <a:t>6,2%</a:t>
              </a:r>
              <a:endParaRPr lang="en-US" altLang="pt-BR" sz="180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  <a:cs typeface="Arial" pitchFamily="34" charset="0"/>
              </a:endParaRPr>
            </a:p>
          </p:txBody>
        </p:sp>
      </p:grpSp>
      <p:sp>
        <p:nvSpPr>
          <p:cNvPr id="47126" name="AutoShape 22"/>
          <p:cNvSpPr>
            <a:spLocks noChangeArrowheads="1"/>
          </p:cNvSpPr>
          <p:nvPr/>
        </p:nvSpPr>
        <p:spPr bwMode="auto">
          <a:xfrm>
            <a:off x="3081339" y="3975288"/>
            <a:ext cx="1439862" cy="647700"/>
          </a:xfrm>
          <a:prstGeom prst="curvedDownArrow">
            <a:avLst>
              <a:gd name="adj1" fmla="val 44461"/>
              <a:gd name="adj2" fmla="val 88922"/>
              <a:gd name="adj3" fmla="val 33333"/>
            </a:avLst>
          </a:prstGeom>
          <a:gradFill rotWithShape="1">
            <a:gsLst>
              <a:gs pos="0">
                <a:srgbClr val="0000FF">
                  <a:gamma/>
                  <a:shade val="46275"/>
                  <a:invGamma/>
                </a:srgbClr>
              </a:gs>
              <a:gs pos="50000">
                <a:srgbClr val="0000FF"/>
              </a:gs>
              <a:gs pos="100000">
                <a:srgbClr val="0000FF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47127" name="Rectangle 23"/>
          <p:cNvSpPr>
            <a:spLocks noChangeArrowheads="1"/>
          </p:cNvSpPr>
          <p:nvPr/>
        </p:nvSpPr>
        <p:spPr bwMode="auto">
          <a:xfrm>
            <a:off x="4521203" y="4334068"/>
            <a:ext cx="1655763" cy="1944687"/>
          </a:xfrm>
          <a:prstGeom prst="rect">
            <a:avLst/>
          </a:prstGeom>
          <a:gradFill rotWithShape="1">
            <a:gsLst>
              <a:gs pos="0">
                <a:srgbClr val="0000FF">
                  <a:gamma/>
                  <a:shade val="46275"/>
                  <a:invGamma/>
                </a:srgbClr>
              </a:gs>
              <a:gs pos="50000">
                <a:srgbClr val="0000FF"/>
              </a:gs>
              <a:gs pos="100000">
                <a:srgbClr val="0000FF">
                  <a:gamma/>
                  <a:shade val="46275"/>
                  <a:invGamma/>
                </a:srgbClr>
              </a:gs>
            </a:gsLst>
            <a:lin ang="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pt-BR" altLang="pt-BR" sz="18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  <a:cs typeface="Arial" pitchFamily="34" charset="0"/>
              </a:rPr>
              <a:t>6,2%</a:t>
            </a:r>
          </a:p>
          <a:p>
            <a:pPr algn="ctr"/>
            <a:r>
              <a:rPr lang="pt-BR" altLang="pt-BR" sz="18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  <a:cs typeface="Arial" pitchFamily="34" charset="0"/>
              </a:rPr>
              <a:t>=</a:t>
            </a:r>
          </a:p>
          <a:p>
            <a:pPr algn="ctr"/>
            <a:r>
              <a:rPr lang="pt-BR" altLang="pt-BR" sz="18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  <a:cs typeface="Arial" pitchFamily="34" charset="0"/>
              </a:rPr>
              <a:t>10 TWh</a:t>
            </a:r>
            <a:endParaRPr lang="en-US" altLang="pt-BR" sz="180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itchFamily="34" charset="0"/>
              <a:cs typeface="Arial" pitchFamily="34" charset="0"/>
            </a:endParaRPr>
          </a:p>
        </p:txBody>
      </p:sp>
      <p:sp>
        <p:nvSpPr>
          <p:cNvPr id="47128" name="Rectangle 24"/>
          <p:cNvSpPr>
            <a:spLocks noChangeArrowheads="1"/>
          </p:cNvSpPr>
          <p:nvPr/>
        </p:nvSpPr>
        <p:spPr bwMode="auto">
          <a:xfrm>
            <a:off x="4521203" y="4345175"/>
            <a:ext cx="1655763" cy="433388"/>
          </a:xfrm>
          <a:prstGeom prst="rect">
            <a:avLst/>
          </a:prstGeom>
          <a:gradFill rotWithShape="1">
            <a:gsLst>
              <a:gs pos="0">
                <a:srgbClr val="0000FF">
                  <a:gamma/>
                  <a:shade val="46275"/>
                  <a:invGamma/>
                </a:srgbClr>
              </a:gs>
              <a:gs pos="50000">
                <a:srgbClr val="0000FF"/>
              </a:gs>
              <a:gs pos="100000">
                <a:srgbClr val="0000FF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pt-BR" altLang="pt-BR" sz="18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  <a:cs typeface="Arial" pitchFamily="34" charset="0"/>
              </a:rPr>
              <a:t>51%</a:t>
            </a:r>
            <a:endParaRPr lang="en-US" altLang="pt-BR" sz="180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itchFamily="34" charset="0"/>
              <a:cs typeface="Arial" pitchFamily="34" charset="0"/>
            </a:endParaRPr>
          </a:p>
        </p:txBody>
      </p:sp>
      <p:sp>
        <p:nvSpPr>
          <p:cNvPr id="47129" name="Rectangle 25"/>
          <p:cNvSpPr>
            <a:spLocks noChangeArrowheads="1"/>
          </p:cNvSpPr>
          <p:nvPr/>
        </p:nvSpPr>
        <p:spPr bwMode="auto">
          <a:xfrm>
            <a:off x="4521203" y="4696013"/>
            <a:ext cx="1655763" cy="430212"/>
          </a:xfrm>
          <a:prstGeom prst="rect">
            <a:avLst/>
          </a:prstGeom>
          <a:gradFill rotWithShape="1">
            <a:gsLst>
              <a:gs pos="0">
                <a:srgbClr val="0000FF">
                  <a:gamma/>
                  <a:shade val="46275"/>
                  <a:invGamma/>
                </a:srgbClr>
              </a:gs>
              <a:gs pos="50000">
                <a:srgbClr val="0000FF"/>
              </a:gs>
              <a:gs pos="100000">
                <a:srgbClr val="0000FF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pt-BR" altLang="pt-BR" sz="18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  <a:cs typeface="Arial" pitchFamily="34" charset="0"/>
              </a:rPr>
              <a:t>21%</a:t>
            </a:r>
            <a:endParaRPr lang="en-US" altLang="pt-BR" sz="180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itchFamily="34" charset="0"/>
              <a:cs typeface="Arial" pitchFamily="34" charset="0"/>
            </a:endParaRPr>
          </a:p>
        </p:txBody>
      </p:sp>
      <p:sp>
        <p:nvSpPr>
          <p:cNvPr id="47130" name="Rectangle 26"/>
          <p:cNvSpPr>
            <a:spLocks noChangeArrowheads="1"/>
          </p:cNvSpPr>
          <p:nvPr/>
        </p:nvSpPr>
        <p:spPr bwMode="auto">
          <a:xfrm>
            <a:off x="4521203" y="5138930"/>
            <a:ext cx="1655763" cy="360363"/>
          </a:xfrm>
          <a:prstGeom prst="rect">
            <a:avLst/>
          </a:prstGeom>
          <a:gradFill rotWithShape="1">
            <a:gsLst>
              <a:gs pos="0">
                <a:srgbClr val="0000FF">
                  <a:gamma/>
                  <a:shade val="46275"/>
                  <a:invGamma/>
                </a:srgbClr>
              </a:gs>
              <a:gs pos="50000">
                <a:srgbClr val="0000FF"/>
              </a:gs>
              <a:gs pos="100000">
                <a:srgbClr val="0000FF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pt-BR" altLang="pt-BR" sz="18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  <a:cs typeface="Arial" pitchFamily="34" charset="0"/>
              </a:rPr>
              <a:t>20%</a:t>
            </a:r>
            <a:endParaRPr lang="en-US" altLang="pt-BR" sz="180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itchFamily="34" charset="0"/>
              <a:cs typeface="Arial" pitchFamily="34" charset="0"/>
            </a:endParaRPr>
          </a:p>
        </p:txBody>
      </p:sp>
      <p:sp>
        <p:nvSpPr>
          <p:cNvPr id="47131" name="Rectangle 27"/>
          <p:cNvSpPr>
            <a:spLocks noChangeArrowheads="1"/>
          </p:cNvSpPr>
          <p:nvPr/>
        </p:nvSpPr>
        <p:spPr bwMode="auto">
          <a:xfrm>
            <a:off x="4521203" y="5499293"/>
            <a:ext cx="1655763" cy="358775"/>
          </a:xfrm>
          <a:prstGeom prst="rect">
            <a:avLst/>
          </a:prstGeom>
          <a:gradFill rotWithShape="1">
            <a:gsLst>
              <a:gs pos="0">
                <a:srgbClr val="0000FF">
                  <a:gamma/>
                  <a:shade val="46275"/>
                  <a:invGamma/>
                </a:srgbClr>
              </a:gs>
              <a:gs pos="50000">
                <a:srgbClr val="0000FF"/>
              </a:gs>
              <a:gs pos="100000">
                <a:srgbClr val="0000FF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pt-BR" altLang="pt-BR" sz="18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  <a:cs typeface="Arial" pitchFamily="34" charset="0"/>
              </a:rPr>
              <a:t>6%</a:t>
            </a:r>
            <a:endParaRPr lang="en-US" altLang="pt-BR" sz="180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itchFamily="34" charset="0"/>
              <a:cs typeface="Arial" pitchFamily="34" charset="0"/>
            </a:endParaRPr>
          </a:p>
        </p:txBody>
      </p:sp>
      <p:sp>
        <p:nvSpPr>
          <p:cNvPr id="47132" name="Text Box 28"/>
          <p:cNvSpPr txBox="1">
            <a:spLocks noChangeArrowheads="1"/>
          </p:cNvSpPr>
          <p:nvPr/>
        </p:nvSpPr>
        <p:spPr bwMode="auto">
          <a:xfrm>
            <a:off x="7139638" y="4235500"/>
            <a:ext cx="2733012" cy="20955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  <a:spcBef>
                <a:spcPct val="50000"/>
              </a:spcBef>
            </a:pPr>
            <a:r>
              <a:rPr lang="pt-BR" altLang="pt-BR" sz="1400" dirty="0">
                <a:solidFill>
                  <a:srgbClr val="004853"/>
                </a:solidFill>
              </a:rPr>
              <a:t>Motores</a:t>
            </a:r>
          </a:p>
          <a:p>
            <a:pPr algn="l">
              <a:lnSpc>
                <a:spcPct val="150000"/>
              </a:lnSpc>
              <a:spcBef>
                <a:spcPct val="50000"/>
              </a:spcBef>
            </a:pPr>
            <a:r>
              <a:rPr lang="pt-BR" altLang="pt-BR" sz="1400" dirty="0">
                <a:solidFill>
                  <a:srgbClr val="004853"/>
                </a:solidFill>
              </a:rPr>
              <a:t>Processo Eletroquímico</a:t>
            </a:r>
          </a:p>
          <a:p>
            <a:pPr algn="l">
              <a:lnSpc>
                <a:spcPct val="150000"/>
              </a:lnSpc>
              <a:spcBef>
                <a:spcPct val="50000"/>
              </a:spcBef>
            </a:pPr>
            <a:r>
              <a:rPr lang="pt-BR" altLang="pt-BR" sz="1400" dirty="0">
                <a:solidFill>
                  <a:srgbClr val="004853"/>
                </a:solidFill>
              </a:rPr>
              <a:t>Processo Eletrotérmico</a:t>
            </a:r>
          </a:p>
          <a:p>
            <a:pPr algn="l">
              <a:lnSpc>
                <a:spcPct val="150000"/>
              </a:lnSpc>
              <a:spcBef>
                <a:spcPct val="50000"/>
              </a:spcBef>
            </a:pPr>
            <a:r>
              <a:rPr lang="pt-BR" altLang="pt-BR" sz="1400" dirty="0">
                <a:solidFill>
                  <a:srgbClr val="004853"/>
                </a:solidFill>
              </a:rPr>
              <a:t>Refrigeração</a:t>
            </a:r>
          </a:p>
          <a:p>
            <a:pPr algn="l">
              <a:lnSpc>
                <a:spcPct val="150000"/>
              </a:lnSpc>
              <a:spcBef>
                <a:spcPct val="50000"/>
              </a:spcBef>
            </a:pPr>
            <a:r>
              <a:rPr lang="pt-BR" altLang="pt-BR" sz="1400" dirty="0">
                <a:solidFill>
                  <a:srgbClr val="004853"/>
                </a:solidFill>
              </a:rPr>
              <a:t>Outros</a:t>
            </a:r>
            <a:endParaRPr lang="en-US" altLang="pt-BR" sz="1400" dirty="0">
              <a:solidFill>
                <a:srgbClr val="004853"/>
              </a:solidFill>
            </a:endParaRPr>
          </a:p>
        </p:txBody>
      </p:sp>
      <p:sp>
        <p:nvSpPr>
          <p:cNvPr id="47133" name="Rectangle 29"/>
          <p:cNvSpPr>
            <a:spLocks noChangeArrowheads="1"/>
          </p:cNvSpPr>
          <p:nvPr/>
        </p:nvSpPr>
        <p:spPr bwMode="auto">
          <a:xfrm>
            <a:off x="4521203" y="5846950"/>
            <a:ext cx="1655763" cy="431800"/>
          </a:xfrm>
          <a:prstGeom prst="rect">
            <a:avLst/>
          </a:prstGeom>
          <a:gradFill rotWithShape="1">
            <a:gsLst>
              <a:gs pos="0">
                <a:srgbClr val="0000FF">
                  <a:gamma/>
                  <a:shade val="46275"/>
                  <a:invGamma/>
                </a:srgbClr>
              </a:gs>
              <a:gs pos="50000">
                <a:srgbClr val="0000FF"/>
              </a:gs>
              <a:gs pos="100000">
                <a:srgbClr val="0000FF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pt-BR" altLang="pt-BR" sz="180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  <a:cs typeface="Arial" pitchFamily="34" charset="0"/>
              </a:rPr>
              <a:t>2%</a:t>
            </a:r>
            <a:endParaRPr lang="en-US" altLang="pt-BR" sz="180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ahoma" pitchFamily="34" charset="0"/>
              <a:cs typeface="Arial" pitchFamily="34" charset="0"/>
            </a:endParaRPr>
          </a:p>
        </p:txBody>
      </p:sp>
      <p:sp>
        <p:nvSpPr>
          <p:cNvPr id="47134" name="AutoShape 30"/>
          <p:cNvSpPr>
            <a:spLocks noChangeArrowheads="1"/>
          </p:cNvSpPr>
          <p:nvPr/>
        </p:nvSpPr>
        <p:spPr bwMode="auto">
          <a:xfrm>
            <a:off x="2936878" y="1454338"/>
            <a:ext cx="1439863" cy="647700"/>
          </a:xfrm>
          <a:prstGeom prst="curvedDownArrow">
            <a:avLst>
              <a:gd name="adj1" fmla="val 44461"/>
              <a:gd name="adj2" fmla="val 88922"/>
              <a:gd name="adj3" fmla="val 33333"/>
            </a:avLst>
          </a:prstGeom>
          <a:gradFill rotWithShape="1">
            <a:gsLst>
              <a:gs pos="0">
                <a:srgbClr val="0000FF">
                  <a:gamma/>
                  <a:shade val="46275"/>
                  <a:invGamma/>
                </a:srgbClr>
              </a:gs>
              <a:gs pos="50000">
                <a:srgbClr val="0000FF"/>
              </a:gs>
              <a:gs pos="100000">
                <a:srgbClr val="0000FF">
                  <a:gamma/>
                  <a:shade val="46275"/>
                  <a:invGamma/>
                </a:srgbClr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47135" name="AutoShape 31"/>
          <p:cNvSpPr>
            <a:spLocks/>
          </p:cNvSpPr>
          <p:nvPr/>
        </p:nvSpPr>
        <p:spPr bwMode="auto">
          <a:xfrm>
            <a:off x="6608766" y="1560700"/>
            <a:ext cx="504825" cy="1797050"/>
          </a:xfrm>
          <a:prstGeom prst="leftBrace">
            <a:avLst>
              <a:gd name="adj1" fmla="val 29665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47136" name="AutoShape 32"/>
          <p:cNvSpPr>
            <a:spLocks/>
          </p:cNvSpPr>
          <p:nvPr/>
        </p:nvSpPr>
        <p:spPr bwMode="auto">
          <a:xfrm>
            <a:off x="6608766" y="4240405"/>
            <a:ext cx="504825" cy="2085975"/>
          </a:xfrm>
          <a:prstGeom prst="leftBrace">
            <a:avLst>
              <a:gd name="adj1" fmla="val 34434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  <p:sp>
        <p:nvSpPr>
          <p:cNvPr id="47137" name="Text Box 33"/>
          <p:cNvSpPr txBox="1">
            <a:spLocks noChangeArrowheads="1"/>
          </p:cNvSpPr>
          <p:nvPr/>
        </p:nvSpPr>
        <p:spPr bwMode="auto">
          <a:xfrm>
            <a:off x="1320800" y="1309880"/>
            <a:ext cx="1511300" cy="430887"/>
          </a:xfrm>
          <a:prstGeom prst="rect">
            <a:avLst/>
          </a:prstGeom>
          <a:solidFill>
            <a:srgbClr val="000099"/>
          </a:solidFill>
          <a:ln w="9525" algn="ctr">
            <a:solidFill>
              <a:srgbClr val="0000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altLang="pt-BR" sz="1400" dirty="0">
                <a:solidFill>
                  <a:srgbClr val="F0F0F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itchFamily="34" charset="0"/>
                <a:cs typeface="Arial" pitchFamily="34" charset="0"/>
              </a:rPr>
              <a:t>POTENCIAL DE ECONOMIA</a:t>
            </a:r>
          </a:p>
        </p:txBody>
      </p:sp>
    </p:spTree>
    <p:extLst>
      <p:ext uri="{BB962C8B-B14F-4D97-AF65-F5344CB8AC3E}">
        <p14:creationId xmlns:p14="http://schemas.microsoft.com/office/powerpoint/2010/main" val="136239156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7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7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47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47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7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7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7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7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7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7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7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7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33" dur="500"/>
                                        <p:tgtEl>
                                          <p:spTgt spid="47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35" presetID="1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37" dur="500"/>
                                        <p:tgtEl>
                                          <p:spTgt spid="47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3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1" dur="500"/>
                                        <p:tgtEl>
                                          <p:spTgt spid="47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43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45" dur="500"/>
                                        <p:tgtEl>
                                          <p:spTgt spid="47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8" dur="500"/>
                                        <p:tgtEl>
                                          <p:spTgt spid="47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50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52" dur="500"/>
                                        <p:tgtEl>
                                          <p:spTgt spid="47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 nodeType="clickPar">
                      <p:stCondLst>
                        <p:cond delay="indefinite"/>
                      </p:stCondLst>
                      <p:childTnLst>
                        <p:par>
                          <p:cTn id="5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5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57" dur="500"/>
                                        <p:tgtEl>
                                          <p:spTgt spid="47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5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61" dur="500"/>
                                        <p:tgtEl>
                                          <p:spTgt spid="47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63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65" dur="500"/>
                                        <p:tgtEl>
                                          <p:spTgt spid="47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67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69" dur="500"/>
                                        <p:tgtEl>
                                          <p:spTgt spid="47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71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3" dur="500"/>
                                        <p:tgtEl>
                                          <p:spTgt spid="47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75" presetID="9" presetClass="emph" presetSubtype="0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76" dur="indefinite"/>
                                        <p:tgtEl>
                                          <p:spTgt spid="4710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7" dur="indefinite"/>
                                        <p:tgtEl>
                                          <p:spTgt spid="47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7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81" dur="500"/>
                                        <p:tgtEl>
                                          <p:spTgt spid="47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83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85" dur="500"/>
                                        <p:tgtEl>
                                          <p:spTgt spid="47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87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89" dur="500"/>
                                        <p:tgtEl>
                                          <p:spTgt spid="47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91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93" dur="500"/>
                                        <p:tgtEl>
                                          <p:spTgt spid="47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9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97" dur="500"/>
                                        <p:tgtEl>
                                          <p:spTgt spid="47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9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01" dur="500"/>
                                        <p:tgtEl>
                                          <p:spTgt spid="47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103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05" dur="500"/>
                                        <p:tgtEl>
                                          <p:spTgt spid="47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107" presetID="9" presetClass="emph" presetSubtype="0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08" dur="indefinite"/>
                                        <p:tgtEl>
                                          <p:spTgt spid="4712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9" dur="indefinite"/>
                                        <p:tgtEl>
                                          <p:spTgt spid="47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111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3" dur="500"/>
                                        <p:tgtEl>
                                          <p:spTgt spid="47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108" grpId="0" animBg="1"/>
      <p:bldP spid="47109" grpId="0" animBg="1"/>
      <p:bldP spid="47109" grpId="1" animBg="1"/>
      <p:bldP spid="47110" grpId="0" animBg="1"/>
      <p:bldP spid="47111" grpId="0" animBg="1"/>
      <p:bldP spid="47112" grpId="0" animBg="1"/>
      <p:bldP spid="47113" grpId="0" animBg="1"/>
      <p:bldP spid="47114" grpId="0"/>
      <p:bldP spid="47115" grpId="0"/>
      <p:bldP spid="47119" grpId="0"/>
      <p:bldP spid="47120" grpId="0"/>
      <p:bldP spid="47121" grpId="0" animBg="1"/>
      <p:bldP spid="47122" grpId="0"/>
      <p:bldP spid="47126" grpId="0" animBg="1"/>
      <p:bldP spid="47127" grpId="0" animBg="1"/>
      <p:bldP spid="47127" grpId="1" animBg="1"/>
      <p:bldP spid="47128" grpId="0" animBg="1"/>
      <p:bldP spid="47129" grpId="0" animBg="1"/>
      <p:bldP spid="47130" grpId="0" animBg="1"/>
      <p:bldP spid="47131" grpId="0" animBg="1"/>
      <p:bldP spid="47132" grpId="0"/>
      <p:bldP spid="47133" grpId="0" animBg="1"/>
      <p:bldP spid="47134" grpId="0" animBg="1"/>
      <p:bldP spid="47135" grpId="0" animBg="1"/>
      <p:bldP spid="4713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artes </a:t>
            </a:r>
            <a:r>
              <a:rPr lang="pt-BR" dirty="0" smtClean="0"/>
              <a:t>interessadas</a:t>
            </a:r>
            <a:endParaRPr lang="pt-BR" dirty="0"/>
          </a:p>
        </p:txBody>
      </p:sp>
      <p:sp>
        <p:nvSpPr>
          <p:cNvPr id="81925" name="Text Box 5"/>
          <p:cNvSpPr txBox="1">
            <a:spLocks noChangeArrowheads="1"/>
          </p:cNvSpPr>
          <p:nvPr/>
        </p:nvSpPr>
        <p:spPr bwMode="auto">
          <a:xfrm>
            <a:off x="3860802" y="1484150"/>
            <a:ext cx="2184400" cy="406400"/>
          </a:xfrm>
          <a:prstGeom prst="rect">
            <a:avLst/>
          </a:prstGeom>
          <a:solidFill>
            <a:srgbClr val="3EC9D0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pt-BR" altLang="pt-BR" sz="2000">
                <a:latin typeface="Verdana" pitchFamily="34" charset="0"/>
              </a:rPr>
              <a:t>GOVERNO</a:t>
            </a:r>
          </a:p>
        </p:txBody>
      </p:sp>
      <p:sp>
        <p:nvSpPr>
          <p:cNvPr id="81926" name="Text Box 6"/>
          <p:cNvSpPr txBox="1">
            <a:spLocks noChangeArrowheads="1"/>
          </p:cNvSpPr>
          <p:nvPr/>
        </p:nvSpPr>
        <p:spPr bwMode="auto">
          <a:xfrm>
            <a:off x="946152" y="2233450"/>
            <a:ext cx="3086100" cy="711200"/>
          </a:xfrm>
          <a:prstGeom prst="rect">
            <a:avLst/>
          </a:prstGeom>
          <a:solidFill>
            <a:srgbClr val="3EC9D0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altLang="pt-BR" sz="2000" dirty="0"/>
              <a:t>CONCESSIONÁRIAS DE ENERGIA</a:t>
            </a:r>
          </a:p>
        </p:txBody>
      </p:sp>
      <p:sp>
        <p:nvSpPr>
          <p:cNvPr id="81927" name="Text Box 7"/>
          <p:cNvSpPr txBox="1">
            <a:spLocks noChangeArrowheads="1"/>
          </p:cNvSpPr>
          <p:nvPr/>
        </p:nvSpPr>
        <p:spPr bwMode="auto">
          <a:xfrm>
            <a:off x="2032000" y="3622513"/>
            <a:ext cx="2362200" cy="406400"/>
          </a:xfrm>
          <a:prstGeom prst="rect">
            <a:avLst/>
          </a:prstGeom>
          <a:solidFill>
            <a:srgbClr val="3EC9D0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altLang="pt-BR" sz="2000"/>
              <a:t>FABRICANTES</a:t>
            </a:r>
          </a:p>
        </p:txBody>
      </p:sp>
      <p:sp>
        <p:nvSpPr>
          <p:cNvPr id="81928" name="Text Box 8"/>
          <p:cNvSpPr txBox="1">
            <a:spLocks noChangeArrowheads="1"/>
          </p:cNvSpPr>
          <p:nvPr/>
        </p:nvSpPr>
        <p:spPr bwMode="auto">
          <a:xfrm>
            <a:off x="5245100" y="3609813"/>
            <a:ext cx="2514600" cy="406400"/>
          </a:xfrm>
          <a:prstGeom prst="rect">
            <a:avLst/>
          </a:prstGeom>
          <a:solidFill>
            <a:srgbClr val="3EC9D0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altLang="pt-BR" sz="2000"/>
              <a:t>ESCOS</a:t>
            </a:r>
          </a:p>
        </p:txBody>
      </p:sp>
      <p:sp>
        <p:nvSpPr>
          <p:cNvPr id="81929" name="Text Box 9"/>
          <p:cNvSpPr txBox="1">
            <a:spLocks noChangeArrowheads="1"/>
          </p:cNvSpPr>
          <p:nvPr/>
        </p:nvSpPr>
        <p:spPr bwMode="auto">
          <a:xfrm>
            <a:off x="3860802" y="5522750"/>
            <a:ext cx="2184400" cy="406400"/>
          </a:xfrm>
          <a:prstGeom prst="rect">
            <a:avLst/>
          </a:prstGeom>
          <a:solidFill>
            <a:srgbClr val="3EC9D0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altLang="pt-BR" sz="2000"/>
              <a:t>CLIENTES</a:t>
            </a:r>
          </a:p>
        </p:txBody>
      </p:sp>
      <p:sp>
        <p:nvSpPr>
          <p:cNvPr id="81930" name="Text Box 10"/>
          <p:cNvSpPr txBox="1">
            <a:spLocks noChangeArrowheads="1"/>
          </p:cNvSpPr>
          <p:nvPr/>
        </p:nvSpPr>
        <p:spPr bwMode="auto">
          <a:xfrm>
            <a:off x="6248400" y="4481350"/>
            <a:ext cx="2667000" cy="711200"/>
          </a:xfrm>
          <a:prstGeom prst="rect">
            <a:avLst/>
          </a:prstGeom>
          <a:solidFill>
            <a:srgbClr val="3EC9D0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altLang="pt-BR" sz="2000"/>
              <a:t>INSTITUIÇÕES FINANCEIRAS</a:t>
            </a:r>
          </a:p>
        </p:txBody>
      </p:sp>
      <p:sp>
        <p:nvSpPr>
          <p:cNvPr id="81931" name="Text Box 11"/>
          <p:cNvSpPr txBox="1">
            <a:spLocks noChangeArrowheads="1"/>
          </p:cNvSpPr>
          <p:nvPr/>
        </p:nvSpPr>
        <p:spPr bwMode="auto">
          <a:xfrm>
            <a:off x="1409700" y="4481350"/>
            <a:ext cx="2260600" cy="711200"/>
          </a:xfrm>
          <a:prstGeom prst="rect">
            <a:avLst/>
          </a:prstGeom>
          <a:solidFill>
            <a:srgbClr val="3EC9D0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altLang="pt-BR" sz="2000"/>
              <a:t>AGENTES DE FOMENTO</a:t>
            </a:r>
          </a:p>
        </p:txBody>
      </p:sp>
      <p:sp>
        <p:nvSpPr>
          <p:cNvPr id="81932" name="Text Box 12"/>
          <p:cNvSpPr txBox="1">
            <a:spLocks noChangeArrowheads="1"/>
          </p:cNvSpPr>
          <p:nvPr/>
        </p:nvSpPr>
        <p:spPr bwMode="auto">
          <a:xfrm>
            <a:off x="5943600" y="2271550"/>
            <a:ext cx="2933700" cy="711200"/>
          </a:xfrm>
          <a:prstGeom prst="rect">
            <a:avLst/>
          </a:prstGeom>
          <a:solidFill>
            <a:srgbClr val="3EC9D0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altLang="pt-BR" sz="2000"/>
              <a:t>AGÊNCIAS REGULADORAS</a:t>
            </a:r>
          </a:p>
        </p:txBody>
      </p:sp>
    </p:spTree>
    <p:extLst>
      <p:ext uri="{BB962C8B-B14F-4D97-AF65-F5344CB8AC3E}">
        <p14:creationId xmlns:p14="http://schemas.microsoft.com/office/powerpoint/2010/main" val="265285672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2" descr="http://www.apsengenharia.com.br/images/saibamais%20grafico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1136433"/>
            <a:ext cx="7137212" cy="5074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 smtClean="0"/>
              <a:t>Ciclo E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9019563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Modelo de </a:t>
            </a:r>
            <a:r>
              <a:rPr lang="pt-BR" dirty="0" smtClean="0"/>
              <a:t>Negócio</a:t>
            </a:r>
            <a:endParaRPr lang="pt-BR" dirty="0"/>
          </a:p>
        </p:txBody>
      </p:sp>
      <p:sp>
        <p:nvSpPr>
          <p:cNvPr id="57349" name="Text Box 5"/>
          <p:cNvSpPr txBox="1">
            <a:spLocks noChangeArrowheads="1"/>
          </p:cNvSpPr>
          <p:nvPr/>
        </p:nvSpPr>
        <p:spPr bwMode="auto">
          <a:xfrm>
            <a:off x="834337" y="1251450"/>
            <a:ext cx="8289925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>
              <a:spcBef>
                <a:spcPct val="50000"/>
              </a:spcBef>
            </a:pPr>
            <a:r>
              <a:rPr lang="pt-PT" altLang="pt-BR" sz="1600" dirty="0">
                <a:solidFill>
                  <a:srgbClr val="004853"/>
                </a:solidFill>
              </a:rPr>
              <a:t>Com o Contrato de Desempenho, o investimento aportado retorna mediante a própria economia apurada no projeto.</a:t>
            </a:r>
          </a:p>
        </p:txBody>
      </p:sp>
      <p:grpSp>
        <p:nvGrpSpPr>
          <p:cNvPr id="57369" name="Group 25"/>
          <p:cNvGrpSpPr>
            <a:grpSpLocks/>
          </p:cNvGrpSpPr>
          <p:nvPr/>
        </p:nvGrpSpPr>
        <p:grpSpPr bwMode="auto">
          <a:xfrm>
            <a:off x="659710" y="2278238"/>
            <a:ext cx="8567740" cy="3973512"/>
            <a:chOff x="240" y="1119"/>
            <a:chExt cx="5397" cy="2503"/>
          </a:xfrm>
        </p:grpSpPr>
        <p:sp>
          <p:nvSpPr>
            <p:cNvPr id="57348" name="Rectangle 4"/>
            <p:cNvSpPr>
              <a:spLocks noChangeArrowheads="1"/>
            </p:cNvSpPr>
            <p:nvPr/>
          </p:nvSpPr>
          <p:spPr bwMode="auto">
            <a:xfrm>
              <a:off x="1247" y="1509"/>
              <a:ext cx="3856" cy="713"/>
            </a:xfrm>
            <a:prstGeom prst="rect">
              <a:avLst/>
            </a:prstGeom>
            <a:solidFill>
              <a:srgbClr val="00FF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/>
            </a:p>
          </p:txBody>
        </p:sp>
        <p:grpSp>
          <p:nvGrpSpPr>
            <p:cNvPr id="57350" name="Group 6"/>
            <p:cNvGrpSpPr>
              <a:grpSpLocks/>
            </p:cNvGrpSpPr>
            <p:nvPr/>
          </p:nvGrpSpPr>
          <p:grpSpPr bwMode="auto">
            <a:xfrm>
              <a:off x="485" y="1200"/>
              <a:ext cx="4790" cy="1859"/>
              <a:chOff x="385" y="1163"/>
              <a:chExt cx="5126" cy="1995"/>
            </a:xfrm>
          </p:grpSpPr>
          <p:sp>
            <p:nvSpPr>
              <p:cNvPr id="57351" name="Line 7"/>
              <p:cNvSpPr>
                <a:spLocks noChangeShapeType="1"/>
              </p:cNvSpPr>
              <p:nvPr/>
            </p:nvSpPr>
            <p:spPr bwMode="auto">
              <a:xfrm flipV="1">
                <a:off x="385" y="2976"/>
                <a:ext cx="5126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t-BR"/>
              </a:p>
            </p:txBody>
          </p:sp>
          <p:sp>
            <p:nvSpPr>
              <p:cNvPr id="57352" name="Rectangle 8"/>
              <p:cNvSpPr>
                <a:spLocks noChangeArrowheads="1"/>
              </p:cNvSpPr>
              <p:nvPr/>
            </p:nvSpPr>
            <p:spPr bwMode="auto">
              <a:xfrm>
                <a:off x="476" y="2115"/>
                <a:ext cx="4853" cy="862"/>
              </a:xfrm>
              <a:prstGeom prst="rect">
                <a:avLst/>
              </a:prstGeom>
              <a:solidFill>
                <a:srgbClr val="CC00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r>
                  <a:rPr lang="pt-BR" altLang="pt-BR" sz="2000" dirty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BankGothic Lt BT" pitchFamily="34" charset="0"/>
                    <a:cs typeface="Arial" pitchFamily="34" charset="0"/>
                  </a:rPr>
                  <a:t> Novo Custo dos Insumos</a:t>
                </a:r>
              </a:p>
            </p:txBody>
          </p:sp>
          <p:sp>
            <p:nvSpPr>
              <p:cNvPr id="57353" name="Rectangle 9"/>
              <p:cNvSpPr>
                <a:spLocks noChangeArrowheads="1"/>
              </p:cNvSpPr>
              <p:nvPr/>
            </p:nvSpPr>
            <p:spPr bwMode="auto">
              <a:xfrm>
                <a:off x="476" y="1344"/>
                <a:ext cx="771" cy="1587"/>
              </a:xfrm>
              <a:prstGeom prst="rect">
                <a:avLst/>
              </a:prstGeom>
              <a:solidFill>
                <a:srgbClr val="CC00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r>
                  <a:rPr lang="pt-BR" altLang="pt-BR" sz="200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BankGothic Lt BT" pitchFamily="34" charset="0"/>
                    <a:cs typeface="Arial" pitchFamily="34" charset="0"/>
                  </a:rPr>
                  <a:t>Custo</a:t>
                </a:r>
              </a:p>
              <a:p>
                <a:pPr algn="ctr"/>
                <a:r>
                  <a:rPr lang="pt-BR" altLang="pt-BR" sz="200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BankGothic Lt BT" pitchFamily="34" charset="0"/>
                    <a:cs typeface="Arial" pitchFamily="34" charset="0"/>
                  </a:rPr>
                  <a:t>dos</a:t>
                </a:r>
              </a:p>
              <a:p>
                <a:pPr algn="ctr"/>
                <a:r>
                  <a:rPr lang="pt-BR" altLang="pt-BR" sz="200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BankGothic Lt BT" pitchFamily="34" charset="0"/>
                    <a:cs typeface="Arial" pitchFamily="34" charset="0"/>
                  </a:rPr>
                  <a:t>Insumos</a:t>
                </a:r>
              </a:p>
            </p:txBody>
          </p:sp>
          <p:sp>
            <p:nvSpPr>
              <p:cNvPr id="57354" name="Line 10"/>
              <p:cNvSpPr>
                <a:spLocks noChangeShapeType="1"/>
              </p:cNvSpPr>
              <p:nvPr/>
            </p:nvSpPr>
            <p:spPr bwMode="auto">
              <a:xfrm flipV="1">
                <a:off x="476" y="1163"/>
                <a:ext cx="0" cy="199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t-BR"/>
              </a:p>
            </p:txBody>
          </p:sp>
          <p:sp>
            <p:nvSpPr>
              <p:cNvPr id="57355" name="Line 11"/>
              <p:cNvSpPr>
                <a:spLocks noChangeShapeType="1"/>
              </p:cNvSpPr>
              <p:nvPr/>
            </p:nvSpPr>
            <p:spPr bwMode="auto">
              <a:xfrm>
                <a:off x="4649" y="1344"/>
                <a:ext cx="0" cy="181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t-BR"/>
              </a:p>
            </p:txBody>
          </p:sp>
          <p:sp>
            <p:nvSpPr>
              <p:cNvPr id="57356" name="Line 12"/>
              <p:cNvSpPr>
                <a:spLocks noChangeShapeType="1"/>
              </p:cNvSpPr>
              <p:nvPr/>
            </p:nvSpPr>
            <p:spPr bwMode="auto">
              <a:xfrm>
                <a:off x="1247" y="1344"/>
                <a:ext cx="0" cy="1724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prstDash val="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t-BR"/>
              </a:p>
            </p:txBody>
          </p:sp>
        </p:grpSp>
        <p:sp>
          <p:nvSpPr>
            <p:cNvPr id="57357" name="AutoShape 13"/>
            <p:cNvSpPr>
              <a:spLocks/>
            </p:cNvSpPr>
            <p:nvPr/>
          </p:nvSpPr>
          <p:spPr bwMode="auto">
            <a:xfrm rot="5400000">
              <a:off x="2846" y="1718"/>
              <a:ext cx="90" cy="3046"/>
            </a:xfrm>
            <a:prstGeom prst="rightBrace">
              <a:avLst>
                <a:gd name="adj1" fmla="val 282037"/>
                <a:gd name="adj2" fmla="val 5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CFF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/>
            </a:p>
          </p:txBody>
        </p:sp>
        <p:sp>
          <p:nvSpPr>
            <p:cNvPr id="57358" name="Text Box 14"/>
            <p:cNvSpPr txBox="1">
              <a:spLocks noChangeArrowheads="1"/>
            </p:cNvSpPr>
            <p:nvPr/>
          </p:nvSpPr>
          <p:spPr bwMode="auto">
            <a:xfrm>
              <a:off x="1905" y="3370"/>
              <a:ext cx="1982" cy="2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CFFCC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/>
              <a:r>
                <a:rPr lang="pt-BR" altLang="pt-BR" sz="2000">
                  <a:solidFill>
                    <a:srgbClr val="0000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BankGothic Lt BT" pitchFamily="34" charset="0"/>
                  <a:cs typeface="Arial" pitchFamily="34" charset="0"/>
                </a:rPr>
                <a:t>Período</a:t>
              </a:r>
              <a:r>
                <a:rPr lang="en-US" altLang="pt-BR" sz="2000">
                  <a:solidFill>
                    <a:srgbClr val="0000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BankGothic Lt BT" pitchFamily="34" charset="0"/>
                  <a:cs typeface="Arial" pitchFamily="34" charset="0"/>
                </a:rPr>
                <a:t> do </a:t>
              </a:r>
              <a:r>
                <a:rPr lang="pt-BR" altLang="pt-BR" sz="2000">
                  <a:solidFill>
                    <a:srgbClr val="0000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BankGothic Lt BT" pitchFamily="34" charset="0"/>
                  <a:cs typeface="Arial" pitchFamily="34" charset="0"/>
                </a:rPr>
                <a:t>Contrato</a:t>
              </a:r>
            </a:p>
          </p:txBody>
        </p:sp>
        <p:sp>
          <p:nvSpPr>
            <p:cNvPr id="57359" name="AutoShape 15"/>
            <p:cNvSpPr>
              <a:spLocks/>
            </p:cNvSpPr>
            <p:nvPr/>
          </p:nvSpPr>
          <p:spPr bwMode="auto">
            <a:xfrm rot="5400000" flipH="1" flipV="1">
              <a:off x="2816" y="-152"/>
              <a:ext cx="43" cy="3178"/>
            </a:xfrm>
            <a:prstGeom prst="rightBrace">
              <a:avLst>
                <a:gd name="adj1" fmla="val 615891"/>
                <a:gd name="adj2" fmla="val 5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CFF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/>
            </a:p>
          </p:txBody>
        </p:sp>
        <p:sp>
          <p:nvSpPr>
            <p:cNvPr id="57360" name="Text Box 16"/>
            <p:cNvSpPr txBox="1">
              <a:spLocks noChangeArrowheads="1"/>
            </p:cNvSpPr>
            <p:nvPr/>
          </p:nvSpPr>
          <p:spPr bwMode="auto">
            <a:xfrm>
              <a:off x="1695" y="1119"/>
              <a:ext cx="2280" cy="2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CFFCC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/>
              <a:r>
                <a:rPr lang="pt-BR" altLang="pt-BR" sz="2000">
                  <a:solidFill>
                    <a:srgbClr val="0000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BankGothic Lt BT" pitchFamily="34" charset="0"/>
                  <a:cs typeface="Arial" pitchFamily="34" charset="0"/>
                </a:rPr>
                <a:t>Economia Compartilhada</a:t>
              </a:r>
            </a:p>
          </p:txBody>
        </p:sp>
        <p:sp>
          <p:nvSpPr>
            <p:cNvPr id="57361" name="AutoShape 17"/>
            <p:cNvSpPr>
              <a:spLocks/>
            </p:cNvSpPr>
            <p:nvPr/>
          </p:nvSpPr>
          <p:spPr bwMode="auto">
            <a:xfrm rot="10800000" flipH="1" flipV="1">
              <a:off x="5154" y="1500"/>
              <a:ext cx="85" cy="717"/>
            </a:xfrm>
            <a:prstGeom prst="rightBrace">
              <a:avLst>
                <a:gd name="adj1" fmla="val 70294"/>
                <a:gd name="adj2" fmla="val 5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CFF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/>
            </a:p>
          </p:txBody>
        </p:sp>
        <p:sp>
          <p:nvSpPr>
            <p:cNvPr id="57362" name="Text Box 18"/>
            <p:cNvSpPr txBox="1">
              <a:spLocks noChangeArrowheads="1"/>
            </p:cNvSpPr>
            <p:nvPr/>
          </p:nvSpPr>
          <p:spPr bwMode="auto">
            <a:xfrm rot="16200000">
              <a:off x="4949" y="1639"/>
              <a:ext cx="929" cy="4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CFFCC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/>
              <a:r>
                <a:rPr lang="pt-BR" altLang="pt-BR" sz="2000">
                  <a:solidFill>
                    <a:srgbClr val="0000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BankGothic Lt BT" pitchFamily="34" charset="0"/>
                  <a:cs typeface="Arial" pitchFamily="34" charset="0"/>
                </a:rPr>
                <a:t>Economia</a:t>
              </a:r>
            </a:p>
            <a:p>
              <a:pPr algn="ctr"/>
              <a:r>
                <a:rPr lang="en-US" altLang="pt-BR" sz="2000">
                  <a:solidFill>
                    <a:srgbClr val="0000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BankGothic Lt BT" pitchFamily="34" charset="0"/>
                  <a:cs typeface="Arial" pitchFamily="34" charset="0"/>
                </a:rPr>
                <a:t>Total</a:t>
              </a:r>
              <a:endParaRPr lang="pt-BR" altLang="pt-BR" sz="2000">
                <a:solidFill>
                  <a:srgbClr val="0000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BankGothic Lt BT" pitchFamily="34" charset="0"/>
                <a:cs typeface="Arial" pitchFamily="34" charset="0"/>
              </a:endParaRPr>
            </a:p>
          </p:txBody>
        </p:sp>
        <p:sp>
          <p:nvSpPr>
            <p:cNvPr id="57363" name="AutoShape 19"/>
            <p:cNvSpPr>
              <a:spLocks/>
            </p:cNvSpPr>
            <p:nvPr/>
          </p:nvSpPr>
          <p:spPr bwMode="auto">
            <a:xfrm rot="5400000">
              <a:off x="861" y="2902"/>
              <a:ext cx="136" cy="675"/>
            </a:xfrm>
            <a:prstGeom prst="rightBrace">
              <a:avLst>
                <a:gd name="adj1" fmla="val 41360"/>
                <a:gd name="adj2" fmla="val 5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CFF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/>
            </a:p>
          </p:txBody>
        </p:sp>
        <p:sp>
          <p:nvSpPr>
            <p:cNvPr id="57364" name="Text Box 20"/>
            <p:cNvSpPr txBox="1">
              <a:spLocks noChangeArrowheads="1"/>
            </p:cNvSpPr>
            <p:nvPr/>
          </p:nvSpPr>
          <p:spPr bwMode="auto">
            <a:xfrm>
              <a:off x="240" y="3346"/>
              <a:ext cx="1390" cy="2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CFFCC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/>
              <a:r>
                <a:rPr lang="pt-BR" altLang="pt-BR" sz="2000">
                  <a:solidFill>
                    <a:srgbClr val="000066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BankGothic Lt BT" pitchFamily="34" charset="0"/>
                  <a:cs typeface="Arial" pitchFamily="34" charset="0"/>
                </a:rPr>
                <a:t>Implementação</a:t>
              </a:r>
            </a:p>
          </p:txBody>
        </p:sp>
        <p:sp>
          <p:nvSpPr>
            <p:cNvPr id="57365" name="Rectangle 21"/>
            <p:cNvSpPr>
              <a:spLocks noChangeArrowheads="1"/>
            </p:cNvSpPr>
            <p:nvPr/>
          </p:nvSpPr>
          <p:spPr bwMode="auto">
            <a:xfrm>
              <a:off x="1292" y="1768"/>
              <a:ext cx="3175" cy="454"/>
            </a:xfrm>
            <a:prstGeom prst="rect">
              <a:avLst/>
            </a:prstGeom>
            <a:solidFill>
              <a:srgbClr val="FFCC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/>
            </a:p>
          </p:txBody>
        </p:sp>
        <p:sp>
          <p:nvSpPr>
            <p:cNvPr id="57366" name="Text Box 22"/>
            <p:cNvSpPr txBox="1">
              <a:spLocks noChangeArrowheads="1"/>
            </p:cNvSpPr>
            <p:nvPr/>
          </p:nvSpPr>
          <p:spPr bwMode="auto">
            <a:xfrm>
              <a:off x="1587" y="1872"/>
              <a:ext cx="2585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CC00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pt-BR" altLang="pt-BR" sz="1800">
                  <a:cs typeface="Arial" pitchFamily="34" charset="0"/>
                </a:rPr>
                <a:t>Agentes (Investidor / ESCO)</a:t>
              </a:r>
            </a:p>
          </p:txBody>
        </p:sp>
        <p:sp>
          <p:nvSpPr>
            <p:cNvPr id="57367" name="Text Box 23"/>
            <p:cNvSpPr txBox="1">
              <a:spLocks noChangeArrowheads="1"/>
            </p:cNvSpPr>
            <p:nvPr/>
          </p:nvSpPr>
          <p:spPr bwMode="auto">
            <a:xfrm>
              <a:off x="2488" y="1521"/>
              <a:ext cx="771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pt-BR" altLang="pt-BR" sz="1800">
                  <a:cs typeface="Arial" pitchFamily="34" charset="0"/>
                </a:rPr>
                <a:t>Cliente</a:t>
              </a:r>
            </a:p>
          </p:txBody>
        </p:sp>
        <p:sp>
          <p:nvSpPr>
            <p:cNvPr id="57368" name="Text Box 24"/>
            <p:cNvSpPr txBox="1">
              <a:spLocks noChangeArrowheads="1"/>
            </p:cNvSpPr>
            <p:nvPr/>
          </p:nvSpPr>
          <p:spPr bwMode="auto">
            <a:xfrm rot="16200000">
              <a:off x="4454" y="1654"/>
              <a:ext cx="605" cy="4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pt-BR" altLang="pt-BR" sz="1800">
                  <a:cs typeface="Arial" pitchFamily="34" charset="0"/>
                </a:rPr>
                <a:t>Clien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7484749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Ganhos x Economia</a:t>
            </a:r>
            <a:endParaRPr lang="pt-BR" dirty="0"/>
          </a:p>
        </p:txBody>
      </p:sp>
      <p:grpSp>
        <p:nvGrpSpPr>
          <p:cNvPr id="55331" name="Group 35"/>
          <p:cNvGrpSpPr>
            <a:grpSpLocks/>
          </p:cNvGrpSpPr>
          <p:nvPr/>
        </p:nvGrpSpPr>
        <p:grpSpPr bwMode="auto">
          <a:xfrm>
            <a:off x="977850" y="1432810"/>
            <a:ext cx="8289925" cy="4657640"/>
            <a:chOff x="433" y="658"/>
            <a:chExt cx="4886" cy="2786"/>
          </a:xfrm>
        </p:grpSpPr>
        <p:sp>
          <p:nvSpPr>
            <p:cNvPr id="55301" name="Rectangle 5"/>
            <p:cNvSpPr>
              <a:spLocks noChangeArrowheads="1"/>
            </p:cNvSpPr>
            <p:nvPr/>
          </p:nvSpPr>
          <p:spPr bwMode="auto">
            <a:xfrm>
              <a:off x="3753" y="1040"/>
              <a:ext cx="751" cy="1396"/>
            </a:xfrm>
            <a:prstGeom prst="rect">
              <a:avLst/>
            </a:prstGeom>
            <a:solidFill>
              <a:srgbClr val="00FF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55302" name="Rectangle 6"/>
            <p:cNvSpPr>
              <a:spLocks noChangeArrowheads="1"/>
            </p:cNvSpPr>
            <p:nvPr/>
          </p:nvSpPr>
          <p:spPr bwMode="auto">
            <a:xfrm>
              <a:off x="2389" y="1040"/>
              <a:ext cx="1357" cy="1396"/>
            </a:xfrm>
            <a:prstGeom prst="rect">
              <a:avLst/>
            </a:prstGeom>
            <a:solidFill>
              <a:srgbClr val="00FFCC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55303" name="Rectangle 7"/>
            <p:cNvSpPr>
              <a:spLocks noChangeArrowheads="1"/>
            </p:cNvSpPr>
            <p:nvPr/>
          </p:nvSpPr>
          <p:spPr bwMode="auto">
            <a:xfrm>
              <a:off x="1705" y="1040"/>
              <a:ext cx="685" cy="1396"/>
            </a:xfrm>
            <a:prstGeom prst="rect">
              <a:avLst/>
            </a:prstGeom>
            <a:solidFill>
              <a:srgbClr val="9966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55304" name="Rectangle 8"/>
            <p:cNvSpPr>
              <a:spLocks noChangeArrowheads="1"/>
            </p:cNvSpPr>
            <p:nvPr/>
          </p:nvSpPr>
          <p:spPr bwMode="auto">
            <a:xfrm>
              <a:off x="1191" y="1039"/>
              <a:ext cx="510" cy="1395"/>
            </a:xfrm>
            <a:prstGeom prst="rect">
              <a:avLst/>
            </a:prstGeom>
            <a:solidFill>
              <a:srgbClr val="F8CB0A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55305" name="Rectangle 9"/>
            <p:cNvSpPr>
              <a:spLocks noChangeArrowheads="1"/>
            </p:cNvSpPr>
            <p:nvPr/>
          </p:nvSpPr>
          <p:spPr bwMode="auto">
            <a:xfrm>
              <a:off x="1107" y="2025"/>
              <a:ext cx="212" cy="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55306" name="Rectangle 10"/>
            <p:cNvSpPr>
              <a:spLocks noChangeArrowheads="1"/>
            </p:cNvSpPr>
            <p:nvPr/>
          </p:nvSpPr>
          <p:spPr bwMode="auto">
            <a:xfrm>
              <a:off x="1056" y="2106"/>
              <a:ext cx="52" cy="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pt-BR" altLang="pt-BR">
                  <a:solidFill>
                    <a:srgbClr val="000000"/>
                  </a:solidFill>
                  <a:cs typeface="Arial" pitchFamily="34" charset="0"/>
                </a:rPr>
                <a:t>o</a:t>
              </a:r>
              <a:endParaRPr lang="pt-BR" altLang="pt-BR" sz="3300">
                <a:solidFill>
                  <a:srgbClr val="CC0000"/>
                </a:solidFill>
                <a:cs typeface="Arial" pitchFamily="34" charset="0"/>
              </a:endParaRPr>
            </a:p>
          </p:txBody>
        </p:sp>
        <p:grpSp>
          <p:nvGrpSpPr>
            <p:cNvPr id="55307" name="Group 11"/>
            <p:cNvGrpSpPr>
              <a:grpSpLocks/>
            </p:cNvGrpSpPr>
            <p:nvPr/>
          </p:nvGrpSpPr>
          <p:grpSpPr bwMode="auto">
            <a:xfrm>
              <a:off x="1177" y="2173"/>
              <a:ext cx="3688" cy="77"/>
              <a:chOff x="996" y="2377"/>
              <a:chExt cx="4177" cy="93"/>
            </a:xfrm>
          </p:grpSpPr>
          <p:sp>
            <p:nvSpPr>
              <p:cNvPr id="55308" name="Rectangle 12"/>
              <p:cNvSpPr>
                <a:spLocks noChangeArrowheads="1"/>
              </p:cNvSpPr>
              <p:nvPr/>
            </p:nvSpPr>
            <p:spPr bwMode="auto">
              <a:xfrm>
                <a:off x="996" y="2414"/>
                <a:ext cx="4086" cy="18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55309" name="Freeform 13"/>
              <p:cNvSpPr>
                <a:spLocks/>
              </p:cNvSpPr>
              <p:nvPr/>
            </p:nvSpPr>
            <p:spPr bwMode="auto">
              <a:xfrm>
                <a:off x="5080" y="2377"/>
                <a:ext cx="93" cy="93"/>
              </a:xfrm>
              <a:custGeom>
                <a:avLst/>
                <a:gdLst>
                  <a:gd name="T0" fmla="*/ 0 w 93"/>
                  <a:gd name="T1" fmla="*/ 93 h 93"/>
                  <a:gd name="T2" fmla="*/ 93 w 93"/>
                  <a:gd name="T3" fmla="*/ 46 h 93"/>
                  <a:gd name="T4" fmla="*/ 0 w 93"/>
                  <a:gd name="T5" fmla="*/ 0 h 93"/>
                  <a:gd name="T6" fmla="*/ 0 w 93"/>
                  <a:gd name="T7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3" h="93">
                    <a:moveTo>
                      <a:pt x="0" y="93"/>
                    </a:moveTo>
                    <a:lnTo>
                      <a:pt x="93" y="46"/>
                    </a:lnTo>
                    <a:lnTo>
                      <a:pt x="0" y="0"/>
                    </a:lnTo>
                    <a:lnTo>
                      <a:pt x="0" y="9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55310" name="Group 14"/>
            <p:cNvGrpSpPr>
              <a:grpSpLocks/>
            </p:cNvGrpSpPr>
            <p:nvPr/>
          </p:nvGrpSpPr>
          <p:grpSpPr bwMode="auto">
            <a:xfrm>
              <a:off x="1136" y="846"/>
              <a:ext cx="82" cy="1594"/>
              <a:chOff x="950" y="839"/>
              <a:chExt cx="93" cy="1920"/>
            </a:xfrm>
          </p:grpSpPr>
          <p:sp>
            <p:nvSpPr>
              <p:cNvPr id="55311" name="Rectangle 15"/>
              <p:cNvSpPr>
                <a:spLocks noChangeArrowheads="1"/>
              </p:cNvSpPr>
              <p:nvPr/>
            </p:nvSpPr>
            <p:spPr bwMode="auto">
              <a:xfrm>
                <a:off x="987" y="929"/>
                <a:ext cx="18" cy="1830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55312" name="Freeform 16"/>
              <p:cNvSpPr>
                <a:spLocks/>
              </p:cNvSpPr>
              <p:nvPr/>
            </p:nvSpPr>
            <p:spPr bwMode="auto">
              <a:xfrm>
                <a:off x="950" y="839"/>
                <a:ext cx="93" cy="93"/>
              </a:xfrm>
              <a:custGeom>
                <a:avLst/>
                <a:gdLst>
                  <a:gd name="T0" fmla="*/ 93 w 93"/>
                  <a:gd name="T1" fmla="*/ 93 h 93"/>
                  <a:gd name="T2" fmla="*/ 47 w 93"/>
                  <a:gd name="T3" fmla="*/ 0 h 93"/>
                  <a:gd name="T4" fmla="*/ 0 w 93"/>
                  <a:gd name="T5" fmla="*/ 93 h 93"/>
                  <a:gd name="T6" fmla="*/ 93 w 93"/>
                  <a:gd name="T7" fmla="*/ 93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3" h="93">
                    <a:moveTo>
                      <a:pt x="93" y="93"/>
                    </a:moveTo>
                    <a:lnTo>
                      <a:pt x="47" y="0"/>
                    </a:lnTo>
                    <a:lnTo>
                      <a:pt x="0" y="93"/>
                    </a:lnTo>
                    <a:lnTo>
                      <a:pt x="93" y="9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55313" name="Rectangle 17"/>
            <p:cNvSpPr>
              <a:spLocks noChangeArrowheads="1"/>
            </p:cNvSpPr>
            <p:nvPr/>
          </p:nvSpPr>
          <p:spPr bwMode="auto">
            <a:xfrm>
              <a:off x="2141" y="789"/>
              <a:ext cx="1863" cy="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BR"/>
            </a:p>
          </p:txBody>
        </p:sp>
        <p:grpSp>
          <p:nvGrpSpPr>
            <p:cNvPr id="55314" name="Group 18"/>
            <p:cNvGrpSpPr>
              <a:grpSpLocks/>
            </p:cNvGrpSpPr>
            <p:nvPr/>
          </p:nvGrpSpPr>
          <p:grpSpPr bwMode="auto">
            <a:xfrm>
              <a:off x="1194" y="2126"/>
              <a:ext cx="476" cy="295"/>
              <a:chOff x="990" y="2399"/>
              <a:chExt cx="539" cy="356"/>
            </a:xfrm>
          </p:grpSpPr>
          <p:sp>
            <p:nvSpPr>
              <p:cNvPr id="55315" name="Freeform 19"/>
              <p:cNvSpPr>
                <a:spLocks/>
              </p:cNvSpPr>
              <p:nvPr/>
            </p:nvSpPr>
            <p:spPr bwMode="auto">
              <a:xfrm>
                <a:off x="996" y="2409"/>
                <a:ext cx="528" cy="336"/>
              </a:xfrm>
              <a:custGeom>
                <a:avLst/>
                <a:gdLst>
                  <a:gd name="T0" fmla="*/ 0 w 528"/>
                  <a:gd name="T1" fmla="*/ 336 h 336"/>
                  <a:gd name="T2" fmla="*/ 73 w 528"/>
                  <a:gd name="T3" fmla="*/ 286 h 336"/>
                  <a:gd name="T4" fmla="*/ 145 w 528"/>
                  <a:gd name="T5" fmla="*/ 236 h 336"/>
                  <a:gd name="T6" fmla="*/ 216 w 528"/>
                  <a:gd name="T7" fmla="*/ 188 h 336"/>
                  <a:gd name="T8" fmla="*/ 285 w 528"/>
                  <a:gd name="T9" fmla="*/ 143 h 336"/>
                  <a:gd name="T10" fmla="*/ 352 w 528"/>
                  <a:gd name="T11" fmla="*/ 100 h 336"/>
                  <a:gd name="T12" fmla="*/ 384 w 528"/>
                  <a:gd name="T13" fmla="*/ 81 h 336"/>
                  <a:gd name="T14" fmla="*/ 415 w 528"/>
                  <a:gd name="T15" fmla="*/ 62 h 336"/>
                  <a:gd name="T16" fmla="*/ 445 w 528"/>
                  <a:gd name="T17" fmla="*/ 44 h 336"/>
                  <a:gd name="T18" fmla="*/ 474 w 528"/>
                  <a:gd name="T19" fmla="*/ 28 h 336"/>
                  <a:gd name="T20" fmla="*/ 502 w 528"/>
                  <a:gd name="T21" fmla="*/ 13 h 336"/>
                  <a:gd name="T22" fmla="*/ 528 w 528"/>
                  <a:gd name="T23" fmla="*/ 0 h 336"/>
                  <a:gd name="T24" fmla="*/ 0 w 528"/>
                  <a:gd name="T25" fmla="*/ 336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8" h="336">
                    <a:moveTo>
                      <a:pt x="0" y="336"/>
                    </a:moveTo>
                    <a:lnTo>
                      <a:pt x="73" y="286"/>
                    </a:lnTo>
                    <a:lnTo>
                      <a:pt x="145" y="236"/>
                    </a:lnTo>
                    <a:lnTo>
                      <a:pt x="216" y="188"/>
                    </a:lnTo>
                    <a:lnTo>
                      <a:pt x="285" y="143"/>
                    </a:lnTo>
                    <a:lnTo>
                      <a:pt x="352" y="100"/>
                    </a:lnTo>
                    <a:lnTo>
                      <a:pt x="384" y="81"/>
                    </a:lnTo>
                    <a:lnTo>
                      <a:pt x="415" y="62"/>
                    </a:lnTo>
                    <a:lnTo>
                      <a:pt x="445" y="44"/>
                    </a:lnTo>
                    <a:lnTo>
                      <a:pt x="474" y="28"/>
                    </a:lnTo>
                    <a:lnTo>
                      <a:pt x="502" y="13"/>
                    </a:lnTo>
                    <a:lnTo>
                      <a:pt x="528" y="0"/>
                    </a:lnTo>
                    <a:lnTo>
                      <a:pt x="0" y="336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55316" name="Freeform 20"/>
              <p:cNvSpPr>
                <a:spLocks/>
              </p:cNvSpPr>
              <p:nvPr/>
            </p:nvSpPr>
            <p:spPr bwMode="auto">
              <a:xfrm>
                <a:off x="990" y="2399"/>
                <a:ext cx="539" cy="356"/>
              </a:xfrm>
              <a:custGeom>
                <a:avLst/>
                <a:gdLst>
                  <a:gd name="T0" fmla="*/ 0 w 539"/>
                  <a:gd name="T1" fmla="*/ 337 h 356"/>
                  <a:gd name="T2" fmla="*/ 13 w 539"/>
                  <a:gd name="T3" fmla="*/ 356 h 356"/>
                  <a:gd name="T4" fmla="*/ 88 w 539"/>
                  <a:gd name="T5" fmla="*/ 304 h 356"/>
                  <a:gd name="T6" fmla="*/ 160 w 539"/>
                  <a:gd name="T7" fmla="*/ 255 h 356"/>
                  <a:gd name="T8" fmla="*/ 231 w 539"/>
                  <a:gd name="T9" fmla="*/ 207 h 356"/>
                  <a:gd name="T10" fmla="*/ 222 w 539"/>
                  <a:gd name="T11" fmla="*/ 198 h 356"/>
                  <a:gd name="T12" fmla="*/ 227 w 539"/>
                  <a:gd name="T13" fmla="*/ 209 h 356"/>
                  <a:gd name="T14" fmla="*/ 296 w 539"/>
                  <a:gd name="T15" fmla="*/ 164 h 356"/>
                  <a:gd name="T16" fmla="*/ 362 w 539"/>
                  <a:gd name="T17" fmla="*/ 121 h 356"/>
                  <a:gd name="T18" fmla="*/ 394 w 539"/>
                  <a:gd name="T19" fmla="*/ 102 h 356"/>
                  <a:gd name="T20" fmla="*/ 425 w 539"/>
                  <a:gd name="T21" fmla="*/ 83 h 356"/>
                  <a:gd name="T22" fmla="*/ 455 w 539"/>
                  <a:gd name="T23" fmla="*/ 65 h 356"/>
                  <a:gd name="T24" fmla="*/ 484 w 539"/>
                  <a:gd name="T25" fmla="*/ 49 h 356"/>
                  <a:gd name="T26" fmla="*/ 512 w 539"/>
                  <a:gd name="T27" fmla="*/ 34 h 356"/>
                  <a:gd name="T28" fmla="*/ 539 w 539"/>
                  <a:gd name="T29" fmla="*/ 21 h 356"/>
                  <a:gd name="T30" fmla="*/ 529 w 539"/>
                  <a:gd name="T31" fmla="*/ 0 h 356"/>
                  <a:gd name="T32" fmla="*/ 503 w 539"/>
                  <a:gd name="T33" fmla="*/ 12 h 356"/>
                  <a:gd name="T34" fmla="*/ 475 w 539"/>
                  <a:gd name="T35" fmla="*/ 27 h 356"/>
                  <a:gd name="T36" fmla="*/ 446 w 539"/>
                  <a:gd name="T37" fmla="*/ 43 h 356"/>
                  <a:gd name="T38" fmla="*/ 416 w 539"/>
                  <a:gd name="T39" fmla="*/ 61 h 356"/>
                  <a:gd name="T40" fmla="*/ 385 w 539"/>
                  <a:gd name="T41" fmla="*/ 80 h 356"/>
                  <a:gd name="T42" fmla="*/ 353 w 539"/>
                  <a:gd name="T43" fmla="*/ 99 h 356"/>
                  <a:gd name="T44" fmla="*/ 287 w 539"/>
                  <a:gd name="T45" fmla="*/ 142 h 356"/>
                  <a:gd name="T46" fmla="*/ 218 w 539"/>
                  <a:gd name="T47" fmla="*/ 187 h 356"/>
                  <a:gd name="T48" fmla="*/ 214 w 539"/>
                  <a:gd name="T49" fmla="*/ 190 h 356"/>
                  <a:gd name="T50" fmla="*/ 143 w 539"/>
                  <a:gd name="T51" fmla="*/ 238 h 356"/>
                  <a:gd name="T52" fmla="*/ 71 w 539"/>
                  <a:gd name="T53" fmla="*/ 287 h 356"/>
                  <a:gd name="T54" fmla="*/ 0 w 539"/>
                  <a:gd name="T55" fmla="*/ 337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39" h="356">
                    <a:moveTo>
                      <a:pt x="0" y="337"/>
                    </a:moveTo>
                    <a:lnTo>
                      <a:pt x="13" y="356"/>
                    </a:lnTo>
                    <a:lnTo>
                      <a:pt x="88" y="304"/>
                    </a:lnTo>
                    <a:lnTo>
                      <a:pt x="160" y="255"/>
                    </a:lnTo>
                    <a:lnTo>
                      <a:pt x="231" y="207"/>
                    </a:lnTo>
                    <a:lnTo>
                      <a:pt x="222" y="198"/>
                    </a:lnTo>
                    <a:lnTo>
                      <a:pt x="227" y="209"/>
                    </a:lnTo>
                    <a:lnTo>
                      <a:pt x="296" y="164"/>
                    </a:lnTo>
                    <a:lnTo>
                      <a:pt x="362" y="121"/>
                    </a:lnTo>
                    <a:lnTo>
                      <a:pt x="394" y="102"/>
                    </a:lnTo>
                    <a:lnTo>
                      <a:pt x="425" y="83"/>
                    </a:lnTo>
                    <a:lnTo>
                      <a:pt x="455" y="65"/>
                    </a:lnTo>
                    <a:lnTo>
                      <a:pt x="484" y="49"/>
                    </a:lnTo>
                    <a:lnTo>
                      <a:pt x="512" y="34"/>
                    </a:lnTo>
                    <a:lnTo>
                      <a:pt x="539" y="21"/>
                    </a:lnTo>
                    <a:lnTo>
                      <a:pt x="529" y="0"/>
                    </a:lnTo>
                    <a:lnTo>
                      <a:pt x="503" y="12"/>
                    </a:lnTo>
                    <a:lnTo>
                      <a:pt x="475" y="27"/>
                    </a:lnTo>
                    <a:lnTo>
                      <a:pt x="446" y="43"/>
                    </a:lnTo>
                    <a:lnTo>
                      <a:pt x="416" y="61"/>
                    </a:lnTo>
                    <a:lnTo>
                      <a:pt x="385" y="80"/>
                    </a:lnTo>
                    <a:lnTo>
                      <a:pt x="353" y="99"/>
                    </a:lnTo>
                    <a:lnTo>
                      <a:pt x="287" y="142"/>
                    </a:lnTo>
                    <a:lnTo>
                      <a:pt x="218" y="187"/>
                    </a:lnTo>
                    <a:lnTo>
                      <a:pt x="214" y="190"/>
                    </a:lnTo>
                    <a:lnTo>
                      <a:pt x="143" y="238"/>
                    </a:lnTo>
                    <a:lnTo>
                      <a:pt x="71" y="287"/>
                    </a:lnTo>
                    <a:lnTo>
                      <a:pt x="0" y="337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55317" name="Freeform 21"/>
            <p:cNvSpPr>
              <a:spLocks/>
            </p:cNvSpPr>
            <p:nvPr/>
          </p:nvSpPr>
          <p:spPr bwMode="auto">
            <a:xfrm>
              <a:off x="1656" y="1845"/>
              <a:ext cx="1149" cy="298"/>
            </a:xfrm>
            <a:custGeom>
              <a:avLst/>
              <a:gdLst>
                <a:gd name="T0" fmla="*/ 1 w 1302"/>
                <a:gd name="T1" fmla="*/ 336 h 359"/>
                <a:gd name="T2" fmla="*/ 6 w 1302"/>
                <a:gd name="T3" fmla="*/ 359 h 359"/>
                <a:gd name="T4" fmla="*/ 9 w 1302"/>
                <a:gd name="T5" fmla="*/ 358 h 359"/>
                <a:gd name="T6" fmla="*/ 15 w 1302"/>
                <a:gd name="T7" fmla="*/ 356 h 359"/>
                <a:gd name="T8" fmla="*/ 24 w 1302"/>
                <a:gd name="T9" fmla="*/ 354 h 359"/>
                <a:gd name="T10" fmla="*/ 37 w 1302"/>
                <a:gd name="T11" fmla="*/ 351 h 359"/>
                <a:gd name="T12" fmla="*/ 53 w 1302"/>
                <a:gd name="T13" fmla="*/ 346 h 359"/>
                <a:gd name="T14" fmla="*/ 72 w 1302"/>
                <a:gd name="T15" fmla="*/ 341 h 359"/>
                <a:gd name="T16" fmla="*/ 94 w 1302"/>
                <a:gd name="T17" fmla="*/ 336 h 359"/>
                <a:gd name="T18" fmla="*/ 119 w 1302"/>
                <a:gd name="T19" fmla="*/ 329 h 359"/>
                <a:gd name="T20" fmla="*/ 147 w 1302"/>
                <a:gd name="T21" fmla="*/ 322 h 359"/>
                <a:gd name="T22" fmla="*/ 178 w 1302"/>
                <a:gd name="T23" fmla="*/ 314 h 359"/>
                <a:gd name="T24" fmla="*/ 211 w 1302"/>
                <a:gd name="T25" fmla="*/ 305 h 359"/>
                <a:gd name="T26" fmla="*/ 247 w 1302"/>
                <a:gd name="T27" fmla="*/ 296 h 359"/>
                <a:gd name="T28" fmla="*/ 285 w 1302"/>
                <a:gd name="T29" fmla="*/ 286 h 359"/>
                <a:gd name="T30" fmla="*/ 325 w 1302"/>
                <a:gd name="T31" fmla="*/ 276 h 359"/>
                <a:gd name="T32" fmla="*/ 368 w 1302"/>
                <a:gd name="T33" fmla="*/ 265 h 359"/>
                <a:gd name="T34" fmla="*/ 413 w 1302"/>
                <a:gd name="T35" fmla="*/ 253 h 359"/>
                <a:gd name="T36" fmla="*/ 459 w 1302"/>
                <a:gd name="T37" fmla="*/ 241 h 359"/>
                <a:gd name="T38" fmla="*/ 507 w 1302"/>
                <a:gd name="T39" fmla="*/ 229 h 359"/>
                <a:gd name="T40" fmla="*/ 557 w 1302"/>
                <a:gd name="T41" fmla="*/ 216 h 359"/>
                <a:gd name="T42" fmla="*/ 609 w 1302"/>
                <a:gd name="T43" fmla="*/ 202 h 359"/>
                <a:gd name="T44" fmla="*/ 662 w 1302"/>
                <a:gd name="T45" fmla="*/ 189 h 359"/>
                <a:gd name="T46" fmla="*/ 716 w 1302"/>
                <a:gd name="T47" fmla="*/ 174 h 359"/>
                <a:gd name="T48" fmla="*/ 771 w 1302"/>
                <a:gd name="T49" fmla="*/ 160 h 359"/>
                <a:gd name="T50" fmla="*/ 828 w 1302"/>
                <a:gd name="T51" fmla="*/ 145 h 359"/>
                <a:gd name="T52" fmla="*/ 943 w 1302"/>
                <a:gd name="T53" fmla="*/ 115 h 359"/>
                <a:gd name="T54" fmla="*/ 1062 w 1302"/>
                <a:gd name="T55" fmla="*/ 85 h 359"/>
                <a:gd name="T56" fmla="*/ 1182 w 1302"/>
                <a:gd name="T57" fmla="*/ 54 h 359"/>
                <a:gd name="T58" fmla="*/ 1302 w 1302"/>
                <a:gd name="T59" fmla="*/ 23 h 359"/>
                <a:gd name="T60" fmla="*/ 1296 w 1302"/>
                <a:gd name="T61" fmla="*/ 0 h 359"/>
                <a:gd name="T62" fmla="*/ 1173 w 1302"/>
                <a:gd name="T63" fmla="*/ 32 h 359"/>
                <a:gd name="T64" fmla="*/ 1053 w 1302"/>
                <a:gd name="T65" fmla="*/ 63 h 359"/>
                <a:gd name="T66" fmla="*/ 934 w 1302"/>
                <a:gd name="T67" fmla="*/ 93 h 359"/>
                <a:gd name="T68" fmla="*/ 819 w 1302"/>
                <a:gd name="T69" fmla="*/ 123 h 359"/>
                <a:gd name="T70" fmla="*/ 762 w 1302"/>
                <a:gd name="T71" fmla="*/ 138 h 359"/>
                <a:gd name="T72" fmla="*/ 707 w 1302"/>
                <a:gd name="T73" fmla="*/ 152 h 359"/>
                <a:gd name="T74" fmla="*/ 653 w 1302"/>
                <a:gd name="T75" fmla="*/ 167 h 359"/>
                <a:gd name="T76" fmla="*/ 600 w 1302"/>
                <a:gd name="T77" fmla="*/ 180 h 359"/>
                <a:gd name="T78" fmla="*/ 548 w 1302"/>
                <a:gd name="T79" fmla="*/ 194 h 359"/>
                <a:gd name="T80" fmla="*/ 498 w 1302"/>
                <a:gd name="T81" fmla="*/ 207 h 359"/>
                <a:gd name="T82" fmla="*/ 450 w 1302"/>
                <a:gd name="T83" fmla="*/ 219 h 359"/>
                <a:gd name="T84" fmla="*/ 404 w 1302"/>
                <a:gd name="T85" fmla="*/ 231 h 359"/>
                <a:gd name="T86" fmla="*/ 359 w 1302"/>
                <a:gd name="T87" fmla="*/ 243 h 359"/>
                <a:gd name="T88" fmla="*/ 316 w 1302"/>
                <a:gd name="T89" fmla="*/ 254 h 359"/>
                <a:gd name="T90" fmla="*/ 276 w 1302"/>
                <a:gd name="T91" fmla="*/ 264 h 359"/>
                <a:gd name="T92" fmla="*/ 238 w 1302"/>
                <a:gd name="T93" fmla="*/ 274 h 359"/>
                <a:gd name="T94" fmla="*/ 202 w 1302"/>
                <a:gd name="T95" fmla="*/ 283 h 359"/>
                <a:gd name="T96" fmla="*/ 169 w 1302"/>
                <a:gd name="T97" fmla="*/ 292 h 359"/>
                <a:gd name="T98" fmla="*/ 138 w 1302"/>
                <a:gd name="T99" fmla="*/ 300 h 359"/>
                <a:gd name="T100" fmla="*/ 110 w 1302"/>
                <a:gd name="T101" fmla="*/ 307 h 359"/>
                <a:gd name="T102" fmla="*/ 85 w 1302"/>
                <a:gd name="T103" fmla="*/ 314 h 359"/>
                <a:gd name="T104" fmla="*/ 63 w 1302"/>
                <a:gd name="T105" fmla="*/ 319 h 359"/>
                <a:gd name="T106" fmla="*/ 44 w 1302"/>
                <a:gd name="T107" fmla="*/ 324 h 359"/>
                <a:gd name="T108" fmla="*/ 28 w 1302"/>
                <a:gd name="T109" fmla="*/ 329 h 359"/>
                <a:gd name="T110" fmla="*/ 15 w 1302"/>
                <a:gd name="T111" fmla="*/ 332 h 359"/>
                <a:gd name="T112" fmla="*/ 6 w 1302"/>
                <a:gd name="T113" fmla="*/ 334 h 359"/>
                <a:gd name="T114" fmla="*/ 0 w 1302"/>
                <a:gd name="T115" fmla="*/ 336 h 359"/>
                <a:gd name="T116" fmla="*/ 1 w 1302"/>
                <a:gd name="T117" fmla="*/ 336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02" h="359">
                  <a:moveTo>
                    <a:pt x="1" y="336"/>
                  </a:moveTo>
                  <a:lnTo>
                    <a:pt x="6" y="359"/>
                  </a:lnTo>
                  <a:lnTo>
                    <a:pt x="9" y="358"/>
                  </a:lnTo>
                  <a:lnTo>
                    <a:pt x="15" y="356"/>
                  </a:lnTo>
                  <a:lnTo>
                    <a:pt x="24" y="354"/>
                  </a:lnTo>
                  <a:lnTo>
                    <a:pt x="37" y="351"/>
                  </a:lnTo>
                  <a:lnTo>
                    <a:pt x="53" y="346"/>
                  </a:lnTo>
                  <a:lnTo>
                    <a:pt x="72" y="341"/>
                  </a:lnTo>
                  <a:lnTo>
                    <a:pt x="94" y="336"/>
                  </a:lnTo>
                  <a:lnTo>
                    <a:pt x="119" y="329"/>
                  </a:lnTo>
                  <a:lnTo>
                    <a:pt x="147" y="322"/>
                  </a:lnTo>
                  <a:lnTo>
                    <a:pt x="178" y="314"/>
                  </a:lnTo>
                  <a:lnTo>
                    <a:pt x="211" y="305"/>
                  </a:lnTo>
                  <a:lnTo>
                    <a:pt x="247" y="296"/>
                  </a:lnTo>
                  <a:lnTo>
                    <a:pt x="285" y="286"/>
                  </a:lnTo>
                  <a:lnTo>
                    <a:pt x="325" y="276"/>
                  </a:lnTo>
                  <a:lnTo>
                    <a:pt x="368" y="265"/>
                  </a:lnTo>
                  <a:lnTo>
                    <a:pt x="413" y="253"/>
                  </a:lnTo>
                  <a:lnTo>
                    <a:pt x="459" y="241"/>
                  </a:lnTo>
                  <a:lnTo>
                    <a:pt x="507" y="229"/>
                  </a:lnTo>
                  <a:lnTo>
                    <a:pt x="557" y="216"/>
                  </a:lnTo>
                  <a:lnTo>
                    <a:pt x="609" y="202"/>
                  </a:lnTo>
                  <a:lnTo>
                    <a:pt x="662" y="189"/>
                  </a:lnTo>
                  <a:lnTo>
                    <a:pt x="716" y="174"/>
                  </a:lnTo>
                  <a:lnTo>
                    <a:pt x="771" y="160"/>
                  </a:lnTo>
                  <a:lnTo>
                    <a:pt x="828" y="145"/>
                  </a:lnTo>
                  <a:lnTo>
                    <a:pt x="943" y="115"/>
                  </a:lnTo>
                  <a:lnTo>
                    <a:pt x="1062" y="85"/>
                  </a:lnTo>
                  <a:lnTo>
                    <a:pt x="1182" y="54"/>
                  </a:lnTo>
                  <a:lnTo>
                    <a:pt x="1302" y="23"/>
                  </a:lnTo>
                  <a:lnTo>
                    <a:pt x="1296" y="0"/>
                  </a:lnTo>
                  <a:lnTo>
                    <a:pt x="1173" y="32"/>
                  </a:lnTo>
                  <a:lnTo>
                    <a:pt x="1053" y="63"/>
                  </a:lnTo>
                  <a:lnTo>
                    <a:pt x="934" y="93"/>
                  </a:lnTo>
                  <a:lnTo>
                    <a:pt x="819" y="123"/>
                  </a:lnTo>
                  <a:lnTo>
                    <a:pt x="762" y="138"/>
                  </a:lnTo>
                  <a:lnTo>
                    <a:pt x="707" y="152"/>
                  </a:lnTo>
                  <a:lnTo>
                    <a:pt x="653" y="167"/>
                  </a:lnTo>
                  <a:lnTo>
                    <a:pt x="600" y="180"/>
                  </a:lnTo>
                  <a:lnTo>
                    <a:pt x="548" y="194"/>
                  </a:lnTo>
                  <a:lnTo>
                    <a:pt x="498" y="207"/>
                  </a:lnTo>
                  <a:lnTo>
                    <a:pt x="450" y="219"/>
                  </a:lnTo>
                  <a:lnTo>
                    <a:pt x="404" y="231"/>
                  </a:lnTo>
                  <a:lnTo>
                    <a:pt x="359" y="243"/>
                  </a:lnTo>
                  <a:lnTo>
                    <a:pt x="316" y="254"/>
                  </a:lnTo>
                  <a:lnTo>
                    <a:pt x="276" y="264"/>
                  </a:lnTo>
                  <a:lnTo>
                    <a:pt x="238" y="274"/>
                  </a:lnTo>
                  <a:lnTo>
                    <a:pt x="202" y="283"/>
                  </a:lnTo>
                  <a:lnTo>
                    <a:pt x="169" y="292"/>
                  </a:lnTo>
                  <a:lnTo>
                    <a:pt x="138" y="300"/>
                  </a:lnTo>
                  <a:lnTo>
                    <a:pt x="110" y="307"/>
                  </a:lnTo>
                  <a:lnTo>
                    <a:pt x="85" y="314"/>
                  </a:lnTo>
                  <a:lnTo>
                    <a:pt x="63" y="319"/>
                  </a:lnTo>
                  <a:lnTo>
                    <a:pt x="44" y="324"/>
                  </a:lnTo>
                  <a:lnTo>
                    <a:pt x="28" y="329"/>
                  </a:lnTo>
                  <a:lnTo>
                    <a:pt x="15" y="332"/>
                  </a:lnTo>
                  <a:lnTo>
                    <a:pt x="6" y="334"/>
                  </a:lnTo>
                  <a:lnTo>
                    <a:pt x="0" y="336"/>
                  </a:lnTo>
                  <a:lnTo>
                    <a:pt x="1" y="336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55318" name="Freeform 22"/>
            <p:cNvSpPr>
              <a:spLocks/>
            </p:cNvSpPr>
            <p:nvPr/>
          </p:nvSpPr>
          <p:spPr bwMode="auto">
            <a:xfrm>
              <a:off x="2797" y="1485"/>
              <a:ext cx="941" cy="376"/>
            </a:xfrm>
            <a:custGeom>
              <a:avLst/>
              <a:gdLst>
                <a:gd name="T0" fmla="*/ 0 w 1066"/>
                <a:gd name="T1" fmla="*/ 431 h 453"/>
                <a:gd name="T2" fmla="*/ 8 w 1066"/>
                <a:gd name="T3" fmla="*/ 453 h 453"/>
                <a:gd name="T4" fmla="*/ 146 w 1066"/>
                <a:gd name="T5" fmla="*/ 402 h 453"/>
                <a:gd name="T6" fmla="*/ 284 w 1066"/>
                <a:gd name="T7" fmla="*/ 351 h 453"/>
                <a:gd name="T8" fmla="*/ 420 w 1066"/>
                <a:gd name="T9" fmla="*/ 299 h 453"/>
                <a:gd name="T10" fmla="*/ 555 w 1066"/>
                <a:gd name="T11" fmla="*/ 246 h 453"/>
                <a:gd name="T12" fmla="*/ 687 w 1066"/>
                <a:gd name="T13" fmla="*/ 192 h 453"/>
                <a:gd name="T14" fmla="*/ 816 w 1066"/>
                <a:gd name="T15" fmla="*/ 137 h 453"/>
                <a:gd name="T16" fmla="*/ 942 w 1066"/>
                <a:gd name="T17" fmla="*/ 80 h 453"/>
                <a:gd name="T18" fmla="*/ 1004 w 1066"/>
                <a:gd name="T19" fmla="*/ 51 h 453"/>
                <a:gd name="T20" fmla="*/ 1066 w 1066"/>
                <a:gd name="T21" fmla="*/ 21 h 453"/>
                <a:gd name="T22" fmla="*/ 1055 w 1066"/>
                <a:gd name="T23" fmla="*/ 0 h 453"/>
                <a:gd name="T24" fmla="*/ 995 w 1066"/>
                <a:gd name="T25" fmla="*/ 29 h 453"/>
                <a:gd name="T26" fmla="*/ 933 w 1066"/>
                <a:gd name="T27" fmla="*/ 58 h 453"/>
                <a:gd name="T28" fmla="*/ 807 w 1066"/>
                <a:gd name="T29" fmla="*/ 115 h 453"/>
                <a:gd name="T30" fmla="*/ 678 w 1066"/>
                <a:gd name="T31" fmla="*/ 170 h 453"/>
                <a:gd name="T32" fmla="*/ 546 w 1066"/>
                <a:gd name="T33" fmla="*/ 224 h 453"/>
                <a:gd name="T34" fmla="*/ 411 w 1066"/>
                <a:gd name="T35" fmla="*/ 277 h 453"/>
                <a:gd name="T36" fmla="*/ 275 w 1066"/>
                <a:gd name="T37" fmla="*/ 329 h 453"/>
                <a:gd name="T38" fmla="*/ 137 w 1066"/>
                <a:gd name="T39" fmla="*/ 380 h 453"/>
                <a:gd name="T40" fmla="*/ 0 w 1066"/>
                <a:gd name="T41" fmla="*/ 431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66" h="453">
                  <a:moveTo>
                    <a:pt x="0" y="431"/>
                  </a:moveTo>
                  <a:lnTo>
                    <a:pt x="8" y="453"/>
                  </a:lnTo>
                  <a:lnTo>
                    <a:pt x="146" y="402"/>
                  </a:lnTo>
                  <a:lnTo>
                    <a:pt x="284" y="351"/>
                  </a:lnTo>
                  <a:lnTo>
                    <a:pt x="420" y="299"/>
                  </a:lnTo>
                  <a:lnTo>
                    <a:pt x="555" y="246"/>
                  </a:lnTo>
                  <a:lnTo>
                    <a:pt x="687" y="192"/>
                  </a:lnTo>
                  <a:lnTo>
                    <a:pt x="816" y="137"/>
                  </a:lnTo>
                  <a:lnTo>
                    <a:pt x="942" y="80"/>
                  </a:lnTo>
                  <a:lnTo>
                    <a:pt x="1004" y="51"/>
                  </a:lnTo>
                  <a:lnTo>
                    <a:pt x="1066" y="21"/>
                  </a:lnTo>
                  <a:lnTo>
                    <a:pt x="1055" y="0"/>
                  </a:lnTo>
                  <a:lnTo>
                    <a:pt x="995" y="29"/>
                  </a:lnTo>
                  <a:lnTo>
                    <a:pt x="933" y="58"/>
                  </a:lnTo>
                  <a:lnTo>
                    <a:pt x="807" y="115"/>
                  </a:lnTo>
                  <a:lnTo>
                    <a:pt x="678" y="170"/>
                  </a:lnTo>
                  <a:lnTo>
                    <a:pt x="546" y="224"/>
                  </a:lnTo>
                  <a:lnTo>
                    <a:pt x="411" y="277"/>
                  </a:lnTo>
                  <a:lnTo>
                    <a:pt x="275" y="329"/>
                  </a:lnTo>
                  <a:lnTo>
                    <a:pt x="137" y="380"/>
                  </a:lnTo>
                  <a:lnTo>
                    <a:pt x="0" y="431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55319" name="Freeform 23"/>
            <p:cNvSpPr>
              <a:spLocks/>
            </p:cNvSpPr>
            <p:nvPr/>
          </p:nvSpPr>
          <p:spPr bwMode="auto">
            <a:xfrm>
              <a:off x="3729" y="1054"/>
              <a:ext cx="773" cy="455"/>
            </a:xfrm>
            <a:custGeom>
              <a:avLst/>
              <a:gdLst>
                <a:gd name="T0" fmla="*/ 0 w 876"/>
                <a:gd name="T1" fmla="*/ 528 h 548"/>
                <a:gd name="T2" fmla="*/ 12 w 876"/>
                <a:gd name="T3" fmla="*/ 548 h 548"/>
                <a:gd name="T4" fmla="*/ 12 w 876"/>
                <a:gd name="T5" fmla="*/ 548 h 548"/>
                <a:gd name="T6" fmla="*/ 15 w 876"/>
                <a:gd name="T7" fmla="*/ 546 h 548"/>
                <a:gd name="T8" fmla="*/ 22 w 876"/>
                <a:gd name="T9" fmla="*/ 542 h 548"/>
                <a:gd name="T10" fmla="*/ 30 w 876"/>
                <a:gd name="T11" fmla="*/ 537 h 548"/>
                <a:gd name="T12" fmla="*/ 41 w 876"/>
                <a:gd name="T13" fmla="*/ 531 h 548"/>
                <a:gd name="T14" fmla="*/ 53 w 876"/>
                <a:gd name="T15" fmla="*/ 523 h 548"/>
                <a:gd name="T16" fmla="*/ 68 w 876"/>
                <a:gd name="T17" fmla="*/ 514 h 548"/>
                <a:gd name="T18" fmla="*/ 85 w 876"/>
                <a:gd name="T19" fmla="*/ 504 h 548"/>
                <a:gd name="T20" fmla="*/ 103 w 876"/>
                <a:gd name="T21" fmla="*/ 492 h 548"/>
                <a:gd name="T22" fmla="*/ 124 w 876"/>
                <a:gd name="T23" fmla="*/ 480 h 548"/>
                <a:gd name="T24" fmla="*/ 146 w 876"/>
                <a:gd name="T25" fmla="*/ 466 h 548"/>
                <a:gd name="T26" fmla="*/ 170 w 876"/>
                <a:gd name="T27" fmla="*/ 452 h 548"/>
                <a:gd name="T28" fmla="*/ 195 w 876"/>
                <a:gd name="T29" fmla="*/ 436 h 548"/>
                <a:gd name="T30" fmla="*/ 222 w 876"/>
                <a:gd name="T31" fmla="*/ 420 h 548"/>
                <a:gd name="T32" fmla="*/ 251 w 876"/>
                <a:gd name="T33" fmla="*/ 402 h 548"/>
                <a:gd name="T34" fmla="*/ 281 w 876"/>
                <a:gd name="T35" fmla="*/ 384 h 548"/>
                <a:gd name="T36" fmla="*/ 312 w 876"/>
                <a:gd name="T37" fmla="*/ 365 h 548"/>
                <a:gd name="T38" fmla="*/ 344 w 876"/>
                <a:gd name="T39" fmla="*/ 345 h 548"/>
                <a:gd name="T40" fmla="*/ 377 w 876"/>
                <a:gd name="T41" fmla="*/ 325 h 548"/>
                <a:gd name="T42" fmla="*/ 411 w 876"/>
                <a:gd name="T43" fmla="*/ 304 h 548"/>
                <a:gd name="T44" fmla="*/ 483 w 876"/>
                <a:gd name="T45" fmla="*/ 260 h 548"/>
                <a:gd name="T46" fmla="*/ 557 w 876"/>
                <a:gd name="T47" fmla="*/ 215 h 548"/>
                <a:gd name="T48" fmla="*/ 634 w 876"/>
                <a:gd name="T49" fmla="*/ 168 h 548"/>
                <a:gd name="T50" fmla="*/ 713 w 876"/>
                <a:gd name="T51" fmla="*/ 120 h 548"/>
                <a:gd name="T52" fmla="*/ 794 w 876"/>
                <a:gd name="T53" fmla="*/ 70 h 548"/>
                <a:gd name="T54" fmla="*/ 876 w 876"/>
                <a:gd name="T55" fmla="*/ 20 h 548"/>
                <a:gd name="T56" fmla="*/ 864 w 876"/>
                <a:gd name="T57" fmla="*/ 0 h 548"/>
                <a:gd name="T58" fmla="*/ 785 w 876"/>
                <a:gd name="T59" fmla="*/ 48 h 548"/>
                <a:gd name="T60" fmla="*/ 704 w 876"/>
                <a:gd name="T61" fmla="*/ 98 h 548"/>
                <a:gd name="T62" fmla="*/ 625 w 876"/>
                <a:gd name="T63" fmla="*/ 146 h 548"/>
                <a:gd name="T64" fmla="*/ 548 w 876"/>
                <a:gd name="T65" fmla="*/ 193 h 548"/>
                <a:gd name="T66" fmla="*/ 474 w 876"/>
                <a:gd name="T67" fmla="*/ 238 h 548"/>
                <a:gd name="T68" fmla="*/ 402 w 876"/>
                <a:gd name="T69" fmla="*/ 282 h 548"/>
                <a:gd name="T70" fmla="*/ 368 w 876"/>
                <a:gd name="T71" fmla="*/ 303 h 548"/>
                <a:gd name="T72" fmla="*/ 335 w 876"/>
                <a:gd name="T73" fmla="*/ 323 h 548"/>
                <a:gd name="T74" fmla="*/ 303 w 876"/>
                <a:gd name="T75" fmla="*/ 343 h 548"/>
                <a:gd name="T76" fmla="*/ 272 w 876"/>
                <a:gd name="T77" fmla="*/ 362 h 548"/>
                <a:gd name="T78" fmla="*/ 242 w 876"/>
                <a:gd name="T79" fmla="*/ 380 h 548"/>
                <a:gd name="T80" fmla="*/ 213 w 876"/>
                <a:gd name="T81" fmla="*/ 398 h 548"/>
                <a:gd name="T82" fmla="*/ 186 w 876"/>
                <a:gd name="T83" fmla="*/ 414 h 548"/>
                <a:gd name="T84" fmla="*/ 161 w 876"/>
                <a:gd name="T85" fmla="*/ 430 h 548"/>
                <a:gd name="T86" fmla="*/ 137 w 876"/>
                <a:gd name="T87" fmla="*/ 444 h 548"/>
                <a:gd name="T88" fmla="*/ 115 w 876"/>
                <a:gd name="T89" fmla="*/ 458 h 548"/>
                <a:gd name="T90" fmla="*/ 94 w 876"/>
                <a:gd name="T91" fmla="*/ 470 h 548"/>
                <a:gd name="T92" fmla="*/ 76 w 876"/>
                <a:gd name="T93" fmla="*/ 482 h 548"/>
                <a:gd name="T94" fmla="*/ 59 w 876"/>
                <a:gd name="T95" fmla="*/ 492 h 548"/>
                <a:gd name="T96" fmla="*/ 44 w 876"/>
                <a:gd name="T97" fmla="*/ 501 h 548"/>
                <a:gd name="T98" fmla="*/ 32 w 876"/>
                <a:gd name="T99" fmla="*/ 509 h 548"/>
                <a:gd name="T100" fmla="*/ 21 w 876"/>
                <a:gd name="T101" fmla="*/ 515 h 548"/>
                <a:gd name="T102" fmla="*/ 13 w 876"/>
                <a:gd name="T103" fmla="*/ 520 h 548"/>
                <a:gd name="T104" fmla="*/ 6 w 876"/>
                <a:gd name="T105" fmla="*/ 524 h 548"/>
                <a:gd name="T106" fmla="*/ 3 w 876"/>
                <a:gd name="T107" fmla="*/ 526 h 548"/>
                <a:gd name="T108" fmla="*/ 0 w 876"/>
                <a:gd name="T109" fmla="*/ 528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76" h="548">
                  <a:moveTo>
                    <a:pt x="0" y="528"/>
                  </a:moveTo>
                  <a:lnTo>
                    <a:pt x="12" y="548"/>
                  </a:lnTo>
                  <a:lnTo>
                    <a:pt x="12" y="548"/>
                  </a:lnTo>
                  <a:lnTo>
                    <a:pt x="15" y="546"/>
                  </a:lnTo>
                  <a:lnTo>
                    <a:pt x="22" y="542"/>
                  </a:lnTo>
                  <a:lnTo>
                    <a:pt x="30" y="537"/>
                  </a:lnTo>
                  <a:lnTo>
                    <a:pt x="41" y="531"/>
                  </a:lnTo>
                  <a:lnTo>
                    <a:pt x="53" y="523"/>
                  </a:lnTo>
                  <a:lnTo>
                    <a:pt x="68" y="514"/>
                  </a:lnTo>
                  <a:lnTo>
                    <a:pt x="85" y="504"/>
                  </a:lnTo>
                  <a:lnTo>
                    <a:pt x="103" y="492"/>
                  </a:lnTo>
                  <a:lnTo>
                    <a:pt x="124" y="480"/>
                  </a:lnTo>
                  <a:lnTo>
                    <a:pt x="146" y="466"/>
                  </a:lnTo>
                  <a:lnTo>
                    <a:pt x="170" y="452"/>
                  </a:lnTo>
                  <a:lnTo>
                    <a:pt x="195" y="436"/>
                  </a:lnTo>
                  <a:lnTo>
                    <a:pt x="222" y="420"/>
                  </a:lnTo>
                  <a:lnTo>
                    <a:pt x="251" y="402"/>
                  </a:lnTo>
                  <a:lnTo>
                    <a:pt x="281" y="384"/>
                  </a:lnTo>
                  <a:lnTo>
                    <a:pt x="312" y="365"/>
                  </a:lnTo>
                  <a:lnTo>
                    <a:pt x="344" y="345"/>
                  </a:lnTo>
                  <a:lnTo>
                    <a:pt x="377" y="325"/>
                  </a:lnTo>
                  <a:lnTo>
                    <a:pt x="411" y="304"/>
                  </a:lnTo>
                  <a:lnTo>
                    <a:pt x="483" y="260"/>
                  </a:lnTo>
                  <a:lnTo>
                    <a:pt x="557" y="215"/>
                  </a:lnTo>
                  <a:lnTo>
                    <a:pt x="634" y="168"/>
                  </a:lnTo>
                  <a:lnTo>
                    <a:pt x="713" y="120"/>
                  </a:lnTo>
                  <a:lnTo>
                    <a:pt x="794" y="70"/>
                  </a:lnTo>
                  <a:lnTo>
                    <a:pt x="876" y="20"/>
                  </a:lnTo>
                  <a:lnTo>
                    <a:pt x="864" y="0"/>
                  </a:lnTo>
                  <a:lnTo>
                    <a:pt x="785" y="48"/>
                  </a:lnTo>
                  <a:lnTo>
                    <a:pt x="704" y="98"/>
                  </a:lnTo>
                  <a:lnTo>
                    <a:pt x="625" y="146"/>
                  </a:lnTo>
                  <a:lnTo>
                    <a:pt x="548" y="193"/>
                  </a:lnTo>
                  <a:lnTo>
                    <a:pt x="474" y="238"/>
                  </a:lnTo>
                  <a:lnTo>
                    <a:pt x="402" y="282"/>
                  </a:lnTo>
                  <a:lnTo>
                    <a:pt x="368" y="303"/>
                  </a:lnTo>
                  <a:lnTo>
                    <a:pt x="335" y="323"/>
                  </a:lnTo>
                  <a:lnTo>
                    <a:pt x="303" y="343"/>
                  </a:lnTo>
                  <a:lnTo>
                    <a:pt x="272" y="362"/>
                  </a:lnTo>
                  <a:lnTo>
                    <a:pt x="242" y="380"/>
                  </a:lnTo>
                  <a:lnTo>
                    <a:pt x="213" y="398"/>
                  </a:lnTo>
                  <a:lnTo>
                    <a:pt x="186" y="414"/>
                  </a:lnTo>
                  <a:lnTo>
                    <a:pt x="161" y="430"/>
                  </a:lnTo>
                  <a:lnTo>
                    <a:pt x="137" y="444"/>
                  </a:lnTo>
                  <a:lnTo>
                    <a:pt x="115" y="458"/>
                  </a:lnTo>
                  <a:lnTo>
                    <a:pt x="94" y="470"/>
                  </a:lnTo>
                  <a:lnTo>
                    <a:pt x="76" y="482"/>
                  </a:lnTo>
                  <a:lnTo>
                    <a:pt x="59" y="492"/>
                  </a:lnTo>
                  <a:lnTo>
                    <a:pt x="44" y="501"/>
                  </a:lnTo>
                  <a:lnTo>
                    <a:pt x="32" y="509"/>
                  </a:lnTo>
                  <a:lnTo>
                    <a:pt x="21" y="515"/>
                  </a:lnTo>
                  <a:lnTo>
                    <a:pt x="13" y="520"/>
                  </a:lnTo>
                  <a:lnTo>
                    <a:pt x="6" y="524"/>
                  </a:lnTo>
                  <a:lnTo>
                    <a:pt x="3" y="526"/>
                  </a:lnTo>
                  <a:lnTo>
                    <a:pt x="0" y="528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55320" name="Rectangle 24"/>
            <p:cNvSpPr>
              <a:spLocks noChangeArrowheads="1"/>
            </p:cNvSpPr>
            <p:nvPr/>
          </p:nvSpPr>
          <p:spPr bwMode="auto">
            <a:xfrm rot="16200000">
              <a:off x="406" y="1457"/>
              <a:ext cx="986" cy="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pt-BR" altLang="pt-BR" sz="2000">
                  <a:solidFill>
                    <a:srgbClr val="000000"/>
                  </a:solidFill>
                  <a:cs typeface="Arial" pitchFamily="34" charset="0"/>
                </a:rPr>
                <a:t>Investimento</a:t>
              </a:r>
              <a:endParaRPr lang="pt-BR" altLang="pt-BR" sz="2000">
                <a:solidFill>
                  <a:srgbClr val="CC0000"/>
                </a:solidFill>
                <a:cs typeface="Arial" pitchFamily="34" charset="0"/>
              </a:endParaRPr>
            </a:p>
          </p:txBody>
        </p:sp>
        <p:sp>
          <p:nvSpPr>
            <p:cNvPr id="55321" name="Rectangle 25"/>
            <p:cNvSpPr>
              <a:spLocks noChangeArrowheads="1"/>
            </p:cNvSpPr>
            <p:nvPr/>
          </p:nvSpPr>
          <p:spPr bwMode="auto">
            <a:xfrm>
              <a:off x="2141" y="789"/>
              <a:ext cx="1863" cy="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pt-BR"/>
            </a:p>
          </p:txBody>
        </p:sp>
        <p:sp>
          <p:nvSpPr>
            <p:cNvPr id="55322" name="Rectangle 26"/>
            <p:cNvSpPr>
              <a:spLocks noChangeArrowheads="1"/>
            </p:cNvSpPr>
            <p:nvPr/>
          </p:nvSpPr>
          <p:spPr bwMode="auto">
            <a:xfrm>
              <a:off x="899" y="658"/>
              <a:ext cx="3778" cy="1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pt-BR" altLang="pt-BR" sz="2000" dirty="0">
                  <a:solidFill>
                    <a:srgbClr val="000000"/>
                  </a:solidFill>
                  <a:cs typeface="Arial" pitchFamily="34" charset="0"/>
                </a:rPr>
                <a:t>Ganhos de Eficiência – Energia Economizada</a:t>
              </a:r>
              <a:endParaRPr lang="pt-BR" altLang="pt-BR" sz="2000" dirty="0">
                <a:solidFill>
                  <a:srgbClr val="CC0000"/>
                </a:solidFill>
                <a:cs typeface="Arial" pitchFamily="34" charset="0"/>
              </a:endParaRPr>
            </a:p>
          </p:txBody>
        </p:sp>
        <p:sp>
          <p:nvSpPr>
            <p:cNvPr id="55323" name="AutoShape 27"/>
            <p:cNvSpPr>
              <a:spLocks noChangeArrowheads="1"/>
            </p:cNvSpPr>
            <p:nvPr/>
          </p:nvSpPr>
          <p:spPr bwMode="auto">
            <a:xfrm>
              <a:off x="433" y="2841"/>
              <a:ext cx="1122" cy="603"/>
            </a:xfrm>
            <a:prstGeom prst="wedgeRectCallout">
              <a:avLst>
                <a:gd name="adj1" fmla="val 51102"/>
                <a:gd name="adj2" fmla="val -134713"/>
              </a:avLst>
            </a:prstGeom>
            <a:solidFill>
              <a:srgbClr val="FFCC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pt-BR" altLang="pt-BR" sz="1800">
                <a:cs typeface="Arial" pitchFamily="34" charset="0"/>
              </a:endParaRPr>
            </a:p>
          </p:txBody>
        </p:sp>
        <p:sp>
          <p:nvSpPr>
            <p:cNvPr id="55324" name="Rectangle 28"/>
            <p:cNvSpPr>
              <a:spLocks noChangeArrowheads="1"/>
            </p:cNvSpPr>
            <p:nvPr/>
          </p:nvSpPr>
          <p:spPr bwMode="auto">
            <a:xfrm>
              <a:off x="445" y="2992"/>
              <a:ext cx="1071" cy="2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pt-BR" altLang="pt-BR" sz="1600" dirty="0">
                  <a:solidFill>
                    <a:srgbClr val="000000"/>
                  </a:solidFill>
                  <a:cs typeface="Arial" pitchFamily="34" charset="0"/>
                </a:rPr>
                <a:t>Medidas</a:t>
              </a:r>
            </a:p>
            <a:p>
              <a:pPr algn="ctr"/>
              <a:r>
                <a:rPr lang="pt-BR" altLang="pt-BR" sz="1600" dirty="0">
                  <a:solidFill>
                    <a:srgbClr val="000000"/>
                  </a:solidFill>
                  <a:cs typeface="Arial" pitchFamily="34" charset="0"/>
                </a:rPr>
                <a:t>Administrativas</a:t>
              </a:r>
              <a:endParaRPr lang="pt-BR" altLang="pt-BR" sz="1600" dirty="0">
                <a:solidFill>
                  <a:srgbClr val="CC0000"/>
                </a:solidFill>
                <a:cs typeface="Arial" pitchFamily="34" charset="0"/>
              </a:endParaRPr>
            </a:p>
          </p:txBody>
        </p:sp>
        <p:sp>
          <p:nvSpPr>
            <p:cNvPr id="55325" name="AutoShape 29"/>
            <p:cNvSpPr>
              <a:spLocks noChangeArrowheads="1"/>
            </p:cNvSpPr>
            <p:nvPr/>
          </p:nvSpPr>
          <p:spPr bwMode="auto">
            <a:xfrm>
              <a:off x="1714" y="2841"/>
              <a:ext cx="1122" cy="603"/>
            </a:xfrm>
            <a:prstGeom prst="wedgeRectCallout">
              <a:avLst>
                <a:gd name="adj1" fmla="val -16875"/>
                <a:gd name="adj2" fmla="val -140083"/>
              </a:avLst>
            </a:prstGeom>
            <a:solidFill>
              <a:srgbClr val="9966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pt-BR" altLang="pt-BR" sz="1800">
                <a:cs typeface="Arial" pitchFamily="34" charset="0"/>
              </a:endParaRPr>
            </a:p>
          </p:txBody>
        </p:sp>
        <p:sp>
          <p:nvSpPr>
            <p:cNvPr id="55326" name="Rectangle 30"/>
            <p:cNvSpPr>
              <a:spLocks noChangeArrowheads="1"/>
            </p:cNvSpPr>
            <p:nvPr/>
          </p:nvSpPr>
          <p:spPr bwMode="auto">
            <a:xfrm>
              <a:off x="1892" y="2904"/>
              <a:ext cx="760" cy="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pt-BR" altLang="pt-BR" sz="1600" dirty="0">
                  <a:solidFill>
                    <a:srgbClr val="000000"/>
                  </a:solidFill>
                  <a:cs typeface="Arial" pitchFamily="34" charset="0"/>
                </a:rPr>
                <a:t>“</a:t>
              </a:r>
              <a:r>
                <a:rPr lang="pt-BR" altLang="pt-BR" sz="1600" dirty="0" err="1">
                  <a:solidFill>
                    <a:srgbClr val="000000"/>
                  </a:solidFill>
                  <a:cs typeface="Arial" pitchFamily="34" charset="0"/>
                </a:rPr>
                <a:t>Retrofit</a:t>
              </a:r>
              <a:r>
                <a:rPr lang="pt-BR" altLang="pt-BR" sz="1600" dirty="0">
                  <a:solidFill>
                    <a:srgbClr val="000000"/>
                  </a:solidFill>
                  <a:cs typeface="Arial" pitchFamily="34" charset="0"/>
                </a:rPr>
                <a:t>”</a:t>
              </a:r>
            </a:p>
            <a:p>
              <a:pPr algn="ctr"/>
              <a:r>
                <a:rPr lang="pt-BR" altLang="pt-BR" sz="1600" dirty="0">
                  <a:solidFill>
                    <a:srgbClr val="000000"/>
                  </a:solidFill>
                  <a:cs typeface="Arial" pitchFamily="34" charset="0"/>
                </a:rPr>
                <a:t>Edificações</a:t>
              </a:r>
            </a:p>
            <a:p>
              <a:pPr algn="ctr"/>
              <a:r>
                <a:rPr lang="pt-BR" altLang="pt-BR" sz="1600" dirty="0">
                  <a:solidFill>
                    <a:srgbClr val="000000"/>
                  </a:solidFill>
                  <a:cs typeface="Arial" pitchFamily="34" charset="0"/>
                </a:rPr>
                <a:t> Existentes</a:t>
              </a:r>
              <a:endParaRPr lang="pt-BR" altLang="pt-BR" sz="1600" dirty="0">
                <a:solidFill>
                  <a:srgbClr val="CC0000"/>
                </a:solidFill>
                <a:cs typeface="Arial" pitchFamily="34" charset="0"/>
              </a:endParaRPr>
            </a:p>
          </p:txBody>
        </p:sp>
        <p:sp>
          <p:nvSpPr>
            <p:cNvPr id="55327" name="AutoShape 31"/>
            <p:cNvSpPr>
              <a:spLocks noChangeArrowheads="1"/>
            </p:cNvSpPr>
            <p:nvPr/>
          </p:nvSpPr>
          <p:spPr bwMode="auto">
            <a:xfrm>
              <a:off x="2956" y="2841"/>
              <a:ext cx="1123" cy="603"/>
            </a:xfrm>
            <a:prstGeom prst="wedgeRectCallout">
              <a:avLst>
                <a:gd name="adj1" fmla="val -48662"/>
                <a:gd name="adj2" fmla="val -138981"/>
              </a:avLst>
            </a:prstGeom>
            <a:solidFill>
              <a:srgbClr val="00FFCC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pt-BR" altLang="pt-BR" sz="1800">
                <a:cs typeface="Arial" pitchFamily="34" charset="0"/>
              </a:endParaRPr>
            </a:p>
          </p:txBody>
        </p:sp>
        <p:sp>
          <p:nvSpPr>
            <p:cNvPr id="55328" name="Rectangle 32"/>
            <p:cNvSpPr>
              <a:spLocks noChangeArrowheads="1"/>
            </p:cNvSpPr>
            <p:nvPr/>
          </p:nvSpPr>
          <p:spPr bwMode="auto">
            <a:xfrm>
              <a:off x="3127" y="2975"/>
              <a:ext cx="796" cy="2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pt-BR" altLang="pt-BR" sz="1600" dirty="0">
                  <a:solidFill>
                    <a:srgbClr val="000000"/>
                  </a:solidFill>
                  <a:cs typeface="Arial" pitchFamily="34" charset="0"/>
                </a:rPr>
                <a:t>Melhoria de</a:t>
              </a:r>
            </a:p>
            <a:p>
              <a:pPr algn="ctr"/>
              <a:r>
                <a:rPr lang="pt-BR" altLang="pt-BR" sz="1600" dirty="0">
                  <a:solidFill>
                    <a:srgbClr val="000000"/>
                  </a:solidFill>
                  <a:cs typeface="Arial" pitchFamily="34" charset="0"/>
                </a:rPr>
                <a:t>Processos</a:t>
              </a:r>
              <a:endParaRPr lang="pt-BR" altLang="pt-BR" sz="1600" dirty="0">
                <a:solidFill>
                  <a:srgbClr val="CC0000"/>
                </a:solidFill>
                <a:cs typeface="Arial" pitchFamily="34" charset="0"/>
              </a:endParaRPr>
            </a:p>
          </p:txBody>
        </p:sp>
        <p:sp>
          <p:nvSpPr>
            <p:cNvPr id="55329" name="AutoShape 33"/>
            <p:cNvSpPr>
              <a:spLocks noChangeArrowheads="1"/>
            </p:cNvSpPr>
            <p:nvPr/>
          </p:nvSpPr>
          <p:spPr bwMode="auto">
            <a:xfrm>
              <a:off x="4197" y="2841"/>
              <a:ext cx="1122" cy="603"/>
            </a:xfrm>
            <a:prstGeom prst="wedgeRectCallout">
              <a:avLst>
                <a:gd name="adj1" fmla="val -52361"/>
                <a:gd name="adj2" fmla="val -139944"/>
              </a:avLst>
            </a:prstGeom>
            <a:solidFill>
              <a:srgbClr val="00FF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pt-BR" altLang="pt-BR" sz="1800">
                <a:cs typeface="Arial" pitchFamily="34" charset="0"/>
              </a:endParaRPr>
            </a:p>
          </p:txBody>
        </p:sp>
        <p:sp>
          <p:nvSpPr>
            <p:cNvPr id="55330" name="Rectangle 34"/>
            <p:cNvSpPr>
              <a:spLocks noChangeArrowheads="1"/>
            </p:cNvSpPr>
            <p:nvPr/>
          </p:nvSpPr>
          <p:spPr bwMode="auto">
            <a:xfrm>
              <a:off x="4374" y="2954"/>
              <a:ext cx="806" cy="2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pt-BR" altLang="pt-BR" sz="1600">
                  <a:solidFill>
                    <a:srgbClr val="000000"/>
                  </a:solidFill>
                  <a:cs typeface="Arial" pitchFamily="34" charset="0"/>
                </a:rPr>
                <a:t>Inovação</a:t>
              </a:r>
            </a:p>
            <a:p>
              <a:pPr algn="ctr"/>
              <a:r>
                <a:rPr lang="pt-BR" altLang="pt-BR" sz="1600">
                  <a:solidFill>
                    <a:srgbClr val="000000"/>
                  </a:solidFill>
                  <a:cs typeface="Arial" pitchFamily="34" charset="0"/>
                </a:rPr>
                <a:t>Tecnológica</a:t>
              </a:r>
              <a:endParaRPr lang="pt-BR" altLang="pt-BR" sz="1600">
                <a:solidFill>
                  <a:srgbClr val="CC0000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4949071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 noChangeArrowheads="1"/>
          </p:cNvSpPr>
          <p:nvPr/>
        </p:nvSpPr>
        <p:spPr>
          <a:xfrm>
            <a:off x="995363" y="1552706"/>
            <a:ext cx="6572250" cy="966788"/>
          </a:xfrm>
          <a:prstGeom prst="rect">
            <a:avLst/>
          </a:prstGeom>
        </p:spPr>
        <p:txBody>
          <a:bodyPr>
            <a:norm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 dirty="0">
              <a:solidFill>
                <a:srgbClr val="2E827E"/>
              </a:solidFill>
              <a:latin typeface="Verdana" charset="0"/>
              <a:cs typeface="Verdana" charset="0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</a:t>
            </a:r>
            <a:r>
              <a:rPr lang="pt-BR" dirty="0" smtClean="0"/>
              <a:t>indústria </a:t>
            </a:r>
            <a:r>
              <a:rPr lang="pt-BR" dirty="0"/>
              <a:t>“já sabe o que fazer</a:t>
            </a:r>
            <a:r>
              <a:rPr lang="pt-BR" dirty="0" smtClean="0"/>
              <a:t>”?!</a:t>
            </a:r>
            <a:endParaRPr lang="pt-BR" dirty="0"/>
          </a:p>
        </p:txBody>
      </p:sp>
      <p:grpSp>
        <p:nvGrpSpPr>
          <p:cNvPr id="7" name="Grupo 2"/>
          <p:cNvGrpSpPr>
            <a:grpSpLocks noChangeAspect="1"/>
          </p:cNvGrpSpPr>
          <p:nvPr/>
        </p:nvGrpSpPr>
        <p:grpSpPr bwMode="auto">
          <a:xfrm>
            <a:off x="6643426" y="1239297"/>
            <a:ext cx="1643594" cy="1614177"/>
            <a:chOff x="3096262" y="1004094"/>
            <a:chExt cx="3995043" cy="3923441"/>
          </a:xfrm>
        </p:grpSpPr>
        <p:pic>
          <p:nvPicPr>
            <p:cNvPr id="8" name="Imagem 4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8426" y="1004094"/>
              <a:ext cx="2438400" cy="182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CaixaDeTexto 1"/>
            <p:cNvSpPr txBox="1">
              <a:spLocks noChangeArrowheads="1"/>
            </p:cNvSpPr>
            <p:nvPr/>
          </p:nvSpPr>
          <p:spPr bwMode="auto">
            <a:xfrm>
              <a:off x="3096262" y="2832895"/>
              <a:ext cx="3995043" cy="20946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pt-BR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Torres de resfriamento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Troca do motor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Inversor de freqüência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Automação do processo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Controle de temperatura</a:t>
              </a:r>
            </a:p>
            <a:p>
              <a:pPr eaLnBrk="1" hangingPunct="1">
                <a:buFont typeface="Arial" pitchFamily="34" charset="0"/>
                <a:buChar char="•"/>
              </a:pPr>
              <a:endParaRPr lang="pt-BR" sz="800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10" name="Grupo 4"/>
          <p:cNvGrpSpPr>
            <a:grpSpLocks noChangeAspect="1"/>
          </p:cNvGrpSpPr>
          <p:nvPr/>
        </p:nvGrpSpPr>
        <p:grpSpPr bwMode="auto">
          <a:xfrm>
            <a:off x="4833706" y="2720879"/>
            <a:ext cx="1440000" cy="1970306"/>
            <a:chOff x="3767184" y="1223951"/>
            <a:chExt cx="2519528" cy="3447746"/>
          </a:xfrm>
        </p:grpSpPr>
        <p:pic>
          <p:nvPicPr>
            <p:cNvPr id="11" name="Picture 3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9601" y="1223951"/>
              <a:ext cx="1871457" cy="1939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CaixaDeTexto 3"/>
            <p:cNvSpPr txBox="1">
              <a:spLocks noChangeArrowheads="1"/>
            </p:cNvSpPr>
            <p:nvPr/>
          </p:nvSpPr>
          <p:spPr bwMode="auto">
            <a:xfrm>
              <a:off x="3767184" y="3163719"/>
              <a:ext cx="2519528" cy="15079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pt-BR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Filtros de Manga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Força motriz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Inversores de freqüência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Automação do processo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Troca dos filtros</a:t>
              </a:r>
            </a:p>
          </p:txBody>
        </p:sp>
      </p:grpSp>
      <p:grpSp>
        <p:nvGrpSpPr>
          <p:cNvPr id="14" name="Grupo 6"/>
          <p:cNvGrpSpPr>
            <a:grpSpLocks noChangeAspect="1"/>
          </p:cNvGrpSpPr>
          <p:nvPr/>
        </p:nvGrpSpPr>
        <p:grpSpPr bwMode="auto">
          <a:xfrm>
            <a:off x="6711502" y="2954870"/>
            <a:ext cx="1440000" cy="1544712"/>
            <a:chOff x="5885213" y="1223951"/>
            <a:chExt cx="3302000" cy="3541224"/>
          </a:xfrm>
        </p:grpSpPr>
        <p:pic>
          <p:nvPicPr>
            <p:cNvPr id="15" name="Imagem 6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0192" y="1223951"/>
              <a:ext cx="2476500" cy="1847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CaixaDeTexto 5"/>
            <p:cNvSpPr txBox="1">
              <a:spLocks noChangeArrowheads="1"/>
            </p:cNvSpPr>
            <p:nvPr/>
          </p:nvSpPr>
          <p:spPr bwMode="auto">
            <a:xfrm>
              <a:off x="5885213" y="3071801"/>
              <a:ext cx="3302000" cy="1693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pt-BR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Silos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Força motriz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Inversores de freqüência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Automação do processo</a:t>
              </a:r>
            </a:p>
          </p:txBody>
        </p:sp>
      </p:grpSp>
      <p:grpSp>
        <p:nvGrpSpPr>
          <p:cNvPr id="17" name="Grupo 1"/>
          <p:cNvGrpSpPr>
            <a:grpSpLocks noChangeAspect="1"/>
          </p:cNvGrpSpPr>
          <p:nvPr/>
        </p:nvGrpSpPr>
        <p:grpSpPr bwMode="auto">
          <a:xfrm>
            <a:off x="2994770" y="1307518"/>
            <a:ext cx="1440000" cy="1480132"/>
            <a:chOff x="235787" y="3952875"/>
            <a:chExt cx="3987800" cy="4098939"/>
          </a:xfrm>
        </p:grpSpPr>
        <p:sp>
          <p:nvSpPr>
            <p:cNvPr id="18" name="CaixaDeTexto 7"/>
            <p:cNvSpPr txBox="1">
              <a:spLocks noChangeArrowheads="1"/>
            </p:cNvSpPr>
            <p:nvPr/>
          </p:nvSpPr>
          <p:spPr bwMode="auto">
            <a:xfrm>
              <a:off x="235787" y="5580064"/>
              <a:ext cx="3987800" cy="247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pt-BR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Injetoras de plástico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Troca do motor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Inversor de freqüência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Automação  do processo</a:t>
              </a:r>
            </a:p>
          </p:txBody>
        </p:sp>
        <p:pic>
          <p:nvPicPr>
            <p:cNvPr id="19" name="Imagem 14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7875" y="3952875"/>
              <a:ext cx="2762250" cy="1657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0" name="Grupo 19"/>
          <p:cNvGrpSpPr>
            <a:grpSpLocks noChangeAspect="1"/>
          </p:cNvGrpSpPr>
          <p:nvPr/>
        </p:nvGrpSpPr>
        <p:grpSpPr bwMode="auto">
          <a:xfrm>
            <a:off x="4788081" y="1223690"/>
            <a:ext cx="1440000" cy="1669404"/>
            <a:chOff x="3281187" y="3795711"/>
            <a:chExt cx="3308151" cy="3834208"/>
          </a:xfrm>
        </p:grpSpPr>
        <p:sp>
          <p:nvSpPr>
            <p:cNvPr id="21" name="CaixaDeTexto 10"/>
            <p:cNvSpPr txBox="1">
              <a:spLocks noChangeArrowheads="1"/>
            </p:cNvSpPr>
            <p:nvPr/>
          </p:nvSpPr>
          <p:spPr bwMode="auto">
            <a:xfrm>
              <a:off x="3281187" y="5579948"/>
              <a:ext cx="3308151" cy="20499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pt-BR" dirty="0" err="1">
                  <a:latin typeface="Tahoma" pitchFamily="34" charset="0"/>
                  <a:ea typeface="Tahoma" pitchFamily="34" charset="0"/>
                  <a:cs typeface="Tahoma" pitchFamily="34" charset="0"/>
                </a:rPr>
                <a:t>Extrusoras</a:t>
              </a:r>
              <a:r>
                <a:rPr lang="pt-BR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 de plástico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Troca do motor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Inversor de freqüência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Automação  do processo</a:t>
              </a:r>
            </a:p>
          </p:txBody>
        </p:sp>
        <p:pic>
          <p:nvPicPr>
            <p:cNvPr id="22" name="Imagem 15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69915" y="3795711"/>
              <a:ext cx="2176285" cy="1742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3" name="Grupo 18"/>
          <p:cNvGrpSpPr>
            <a:grpSpLocks noChangeAspect="1"/>
          </p:cNvGrpSpPr>
          <p:nvPr/>
        </p:nvGrpSpPr>
        <p:grpSpPr bwMode="auto">
          <a:xfrm>
            <a:off x="1275388" y="3046719"/>
            <a:ext cx="1658582" cy="1651944"/>
            <a:chOff x="5526675" y="3684103"/>
            <a:chExt cx="4644546" cy="4625332"/>
          </a:xfrm>
        </p:grpSpPr>
        <p:sp>
          <p:nvSpPr>
            <p:cNvPr id="24" name="CaixaDeTexto 12"/>
            <p:cNvSpPr txBox="1">
              <a:spLocks noChangeArrowheads="1"/>
            </p:cNvSpPr>
            <p:nvPr/>
          </p:nvSpPr>
          <p:spPr bwMode="auto">
            <a:xfrm>
              <a:off x="5526675" y="5465647"/>
              <a:ext cx="4644546" cy="2843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pt-BR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Sistemas de refrigeração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Troca de equipamentos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Automação e controle 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Troca de motores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Inversores em </a:t>
              </a:r>
              <a:r>
                <a:rPr lang="pt-BR" sz="800" dirty="0" err="1">
                  <a:latin typeface="Tahoma" pitchFamily="34" charset="0"/>
                  <a:ea typeface="Tahoma" pitchFamily="34" charset="0"/>
                  <a:cs typeface="Tahoma" pitchFamily="34" charset="0"/>
                </a:rPr>
                <a:t>moto-bombas</a:t>
              </a:r>
              <a:endParaRPr lang="pt-BR" sz="800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pic>
          <p:nvPicPr>
            <p:cNvPr id="25" name="Imagem 17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4233" y="3684103"/>
              <a:ext cx="2336254" cy="18227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" name="Grupo 2"/>
          <p:cNvGrpSpPr>
            <a:grpSpLocks noChangeAspect="1"/>
          </p:cNvGrpSpPr>
          <p:nvPr/>
        </p:nvGrpSpPr>
        <p:grpSpPr bwMode="auto">
          <a:xfrm>
            <a:off x="3036008" y="4838460"/>
            <a:ext cx="1345763" cy="1615336"/>
            <a:chOff x="3350932" y="1076087"/>
            <a:chExt cx="3271112" cy="3926261"/>
          </a:xfrm>
        </p:grpSpPr>
        <p:pic>
          <p:nvPicPr>
            <p:cNvPr id="27" name="Imagem 4"/>
            <p:cNvPicPr>
              <a:picLocks noChangeAspect="1"/>
            </p:cNvPicPr>
            <p:nvPr/>
          </p:nvPicPr>
          <p:blipFill>
            <a:blip r:embed="rId9" cstate="email"/>
            <a:srcRect/>
            <a:stretch>
              <a:fillRect/>
            </a:stretch>
          </p:blipFill>
          <p:spPr bwMode="auto">
            <a:xfrm>
              <a:off x="3870093" y="1076087"/>
              <a:ext cx="2324747" cy="17635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" name="CaixaDeTexto 1"/>
            <p:cNvSpPr txBox="1">
              <a:spLocks noChangeArrowheads="1"/>
            </p:cNvSpPr>
            <p:nvPr/>
          </p:nvSpPr>
          <p:spPr bwMode="auto">
            <a:xfrm>
              <a:off x="3350932" y="2832897"/>
              <a:ext cx="3271112" cy="21694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pt-BR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Força Motriz</a:t>
              </a:r>
            </a:p>
            <a:p>
              <a:pPr algn="ctr" eaLnBrk="1" hangingPunct="1"/>
              <a:r>
                <a:rPr lang="pt-BR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Bombeamento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Troca do motor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Revitalização de bombas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Redimensionamento</a:t>
              </a:r>
            </a:p>
          </p:txBody>
        </p:sp>
      </p:grpSp>
      <p:grpSp>
        <p:nvGrpSpPr>
          <p:cNvPr id="29" name="Grupo 4"/>
          <p:cNvGrpSpPr>
            <a:grpSpLocks noChangeAspect="1"/>
          </p:cNvGrpSpPr>
          <p:nvPr/>
        </p:nvGrpSpPr>
        <p:grpSpPr bwMode="auto">
          <a:xfrm>
            <a:off x="4855019" y="4813392"/>
            <a:ext cx="1441276" cy="1694189"/>
            <a:chOff x="3419813" y="1223952"/>
            <a:chExt cx="3155115" cy="3709150"/>
          </a:xfrm>
        </p:grpSpPr>
        <p:pic>
          <p:nvPicPr>
            <p:cNvPr id="30" name="Picture 3"/>
            <p:cNvPicPr>
              <a:picLocks noChangeAspect="1" noChangeArrowheads="1"/>
            </p:cNvPicPr>
            <p:nvPr/>
          </p:nvPicPr>
          <p:blipFill>
            <a:blip r:embed="rId10" cstate="email"/>
            <a:srcRect/>
            <a:stretch>
              <a:fillRect/>
            </a:stretch>
          </p:blipFill>
          <p:spPr bwMode="auto">
            <a:xfrm>
              <a:off x="3745853" y="1223952"/>
              <a:ext cx="2364241" cy="1836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" name="CaixaDeTexto 3"/>
            <p:cNvSpPr txBox="1">
              <a:spLocks noChangeArrowheads="1"/>
            </p:cNvSpPr>
            <p:nvPr/>
          </p:nvSpPr>
          <p:spPr bwMode="auto">
            <a:xfrm>
              <a:off x="3419813" y="3046389"/>
              <a:ext cx="3155115" cy="1886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pt-BR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Aquecimento Solar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Aproveitamento de energia solar para aquecimento de água industrial, refeitório, banhos</a:t>
              </a:r>
            </a:p>
          </p:txBody>
        </p:sp>
      </p:grpSp>
      <p:grpSp>
        <p:nvGrpSpPr>
          <p:cNvPr id="32" name="Grupo 6"/>
          <p:cNvGrpSpPr>
            <a:grpSpLocks noChangeAspect="1"/>
          </p:cNvGrpSpPr>
          <p:nvPr/>
        </p:nvGrpSpPr>
        <p:grpSpPr bwMode="auto">
          <a:xfrm>
            <a:off x="6524897" y="4835425"/>
            <a:ext cx="1876425" cy="1698600"/>
            <a:chOff x="5406798" y="1223951"/>
            <a:chExt cx="4302747" cy="3894009"/>
          </a:xfrm>
        </p:grpSpPr>
        <p:pic>
          <p:nvPicPr>
            <p:cNvPr id="33" name="Imagem 6"/>
            <p:cNvPicPr>
              <a:picLocks noChangeAspect="1"/>
            </p:cNvPicPr>
            <p:nvPr/>
          </p:nvPicPr>
          <p:blipFill>
            <a:blip r:embed="rId11" cstate="email"/>
            <a:stretch>
              <a:fillRect/>
            </a:stretch>
          </p:blipFill>
          <p:spPr bwMode="auto">
            <a:xfrm>
              <a:off x="6308024" y="1223951"/>
              <a:ext cx="2460835" cy="18478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" name="CaixaDeTexto 5"/>
            <p:cNvSpPr txBox="1">
              <a:spLocks noChangeArrowheads="1"/>
            </p:cNvSpPr>
            <p:nvPr/>
          </p:nvSpPr>
          <p:spPr bwMode="auto">
            <a:xfrm>
              <a:off x="5406798" y="3071801"/>
              <a:ext cx="4302747" cy="2046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pt-BR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Reaproveitamento Térmico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Aproveitamento de rejeitos térmicos para aquecimento de água industrial, refeitório, banhos</a:t>
              </a:r>
            </a:p>
          </p:txBody>
        </p:sp>
      </p:grpSp>
      <p:grpSp>
        <p:nvGrpSpPr>
          <p:cNvPr id="35" name="Grupo 1"/>
          <p:cNvGrpSpPr>
            <a:grpSpLocks noChangeAspect="1"/>
          </p:cNvGrpSpPr>
          <p:nvPr/>
        </p:nvGrpSpPr>
        <p:grpSpPr bwMode="auto">
          <a:xfrm>
            <a:off x="1349524" y="1335416"/>
            <a:ext cx="1440000" cy="1432272"/>
            <a:chOff x="130275" y="4000180"/>
            <a:chExt cx="3987800" cy="3966400"/>
          </a:xfrm>
        </p:grpSpPr>
        <p:sp>
          <p:nvSpPr>
            <p:cNvPr id="36" name="CaixaDeTexto 7"/>
            <p:cNvSpPr txBox="1">
              <a:spLocks noChangeArrowheads="1"/>
            </p:cNvSpPr>
            <p:nvPr/>
          </p:nvSpPr>
          <p:spPr bwMode="auto">
            <a:xfrm>
              <a:off x="130275" y="5580064"/>
              <a:ext cx="3987800" cy="23865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pt-BR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Iluminação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Troca da tecnologia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Automação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 err="1">
                  <a:latin typeface="Tahoma" pitchFamily="34" charset="0"/>
                  <a:ea typeface="Tahoma" pitchFamily="34" charset="0"/>
                  <a:cs typeface="Tahoma" pitchFamily="34" charset="0"/>
                </a:rPr>
                <a:t>Setorização</a:t>
              </a:r>
              <a:endParaRPr lang="pt-BR" sz="800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Atendimento a normas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Iluminação natural</a:t>
              </a:r>
            </a:p>
          </p:txBody>
        </p:sp>
        <p:pic>
          <p:nvPicPr>
            <p:cNvPr id="37" name="Imagem 14"/>
            <p:cNvPicPr>
              <a:picLocks noChangeAspect="1"/>
            </p:cNvPicPr>
            <p:nvPr/>
          </p:nvPicPr>
          <p:blipFill>
            <a:blip r:embed="rId12" cstate="email"/>
            <a:stretch>
              <a:fillRect/>
            </a:stretch>
          </p:blipFill>
          <p:spPr bwMode="auto">
            <a:xfrm>
              <a:off x="777875" y="4000180"/>
              <a:ext cx="2762250" cy="15627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8" name="Grupo 16"/>
          <p:cNvGrpSpPr>
            <a:grpSpLocks noChangeAspect="1"/>
          </p:cNvGrpSpPr>
          <p:nvPr/>
        </p:nvGrpSpPr>
        <p:grpSpPr bwMode="auto">
          <a:xfrm>
            <a:off x="1308481" y="4916836"/>
            <a:ext cx="1577866" cy="1270426"/>
            <a:chOff x="3235941" y="4036608"/>
            <a:chExt cx="3719487" cy="2994018"/>
          </a:xfrm>
        </p:grpSpPr>
        <p:sp>
          <p:nvSpPr>
            <p:cNvPr id="39" name="CaixaDeTexto 10"/>
            <p:cNvSpPr txBox="1">
              <a:spLocks noChangeArrowheads="1"/>
            </p:cNvSpPr>
            <p:nvPr/>
          </p:nvSpPr>
          <p:spPr bwMode="auto">
            <a:xfrm>
              <a:off x="3235941" y="5579950"/>
              <a:ext cx="3719487" cy="14506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pt-BR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Automação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Redução de perdas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Combate ao desperdício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Gerenciamento</a:t>
              </a:r>
            </a:p>
          </p:txBody>
        </p:sp>
        <p:pic>
          <p:nvPicPr>
            <p:cNvPr id="40" name="Imagem 15"/>
            <p:cNvPicPr>
              <a:picLocks noChangeAspect="1"/>
            </p:cNvPicPr>
            <p:nvPr/>
          </p:nvPicPr>
          <p:blipFill>
            <a:blip r:embed="rId13" cstate="email"/>
            <a:stretch>
              <a:fillRect/>
            </a:stretch>
          </p:blipFill>
          <p:spPr bwMode="auto">
            <a:xfrm>
              <a:off x="3780633" y="4036608"/>
              <a:ext cx="2545873" cy="1593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1" name="Grupo 18"/>
          <p:cNvGrpSpPr>
            <a:grpSpLocks noChangeAspect="1"/>
          </p:cNvGrpSpPr>
          <p:nvPr/>
        </p:nvGrpSpPr>
        <p:grpSpPr bwMode="auto">
          <a:xfrm>
            <a:off x="2896101" y="3059061"/>
            <a:ext cx="1695221" cy="1426968"/>
            <a:chOff x="5580018" y="3883141"/>
            <a:chExt cx="4747147" cy="3995417"/>
          </a:xfrm>
        </p:grpSpPr>
        <p:sp>
          <p:nvSpPr>
            <p:cNvPr id="42" name="CaixaDeTexto 12"/>
            <p:cNvSpPr txBox="1">
              <a:spLocks noChangeArrowheads="1"/>
            </p:cNvSpPr>
            <p:nvPr/>
          </p:nvSpPr>
          <p:spPr bwMode="auto">
            <a:xfrm>
              <a:off x="5580018" y="5465647"/>
              <a:ext cx="4747147" cy="24129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pt-BR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Ar comprimido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Troca de equipamentos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Redução de perdas/ vazamentos</a:t>
              </a:r>
            </a:p>
            <a:p>
              <a:pPr eaLnBrk="1" hangingPunct="1">
                <a:buFont typeface="Arial" pitchFamily="34" charset="0"/>
                <a:buChar char="•"/>
              </a:pPr>
              <a:r>
                <a:rPr lang="pt-BR" sz="8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Gerenciamento da distribuição</a:t>
              </a:r>
            </a:p>
          </p:txBody>
        </p:sp>
        <p:pic>
          <p:nvPicPr>
            <p:cNvPr id="43" name="Imagem 17"/>
            <p:cNvPicPr>
              <a:picLocks noChangeAspect="1"/>
            </p:cNvPicPr>
            <p:nvPr/>
          </p:nvPicPr>
          <p:blipFill>
            <a:blip r:embed="rId14" cstate="print"/>
            <a:stretch>
              <a:fillRect/>
            </a:stretch>
          </p:blipFill>
          <p:spPr bwMode="auto">
            <a:xfrm>
              <a:off x="6870779" y="3883141"/>
              <a:ext cx="1967047" cy="14758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1314850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Telhados </a:t>
            </a:r>
            <a:r>
              <a:rPr lang="pt-BR" dirty="0" smtClean="0"/>
              <a:t>solares</a:t>
            </a:r>
            <a:endParaRPr lang="pt-BR" dirty="0"/>
          </a:p>
        </p:txBody>
      </p:sp>
      <p:pic>
        <p:nvPicPr>
          <p:cNvPr id="11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83111" y="1564039"/>
            <a:ext cx="2966233" cy="1989509"/>
          </a:xfrm>
          <a:prstGeom prst="round2DiagRect">
            <a:avLst>
              <a:gd name="adj1" fmla="val 11954"/>
              <a:gd name="adj2" fmla="val 0"/>
            </a:avLst>
          </a:prstGeom>
          <a:ln w="88900" cap="sq">
            <a:noFill/>
            <a:miter lim="800000"/>
          </a:ln>
          <a:effectLst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882656" y="1564039"/>
            <a:ext cx="2954790" cy="1989509"/>
          </a:xfrm>
          <a:prstGeom prst="round2DiagRect">
            <a:avLst>
              <a:gd name="adj1" fmla="val 11954"/>
              <a:gd name="adj2" fmla="val 0"/>
            </a:avLst>
          </a:prstGeom>
          <a:ln w="88900" cap="sq">
            <a:noFill/>
            <a:miter lim="800000"/>
          </a:ln>
          <a:effectLst/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880507" y="3721939"/>
            <a:ext cx="2959084" cy="1965261"/>
          </a:xfrm>
          <a:prstGeom prst="round2DiagRect">
            <a:avLst>
              <a:gd name="adj1" fmla="val 11954"/>
              <a:gd name="adj2" fmla="val 0"/>
            </a:avLst>
          </a:prstGeom>
          <a:ln w="88900" cap="sq">
            <a:noFill/>
            <a:miter lim="800000"/>
          </a:ln>
          <a:effectLst/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083112" y="3721939"/>
            <a:ext cx="2966233" cy="1965261"/>
          </a:xfrm>
          <a:prstGeom prst="round2DiagRect">
            <a:avLst>
              <a:gd name="adj1" fmla="val 11954"/>
              <a:gd name="adj2" fmla="val 0"/>
            </a:avLst>
          </a:prstGeom>
          <a:ln w="88900" cap="sq">
            <a:noFill/>
            <a:miter lim="800000"/>
          </a:ln>
          <a:effectLst/>
        </p:spPr>
      </p:pic>
      <p:sp>
        <p:nvSpPr>
          <p:cNvPr id="18" name="Retângulo 17"/>
          <p:cNvSpPr/>
          <p:nvPr/>
        </p:nvSpPr>
        <p:spPr>
          <a:xfrm>
            <a:off x="1882654" y="5490239"/>
            <a:ext cx="1925494" cy="192485"/>
          </a:xfrm>
          <a:prstGeom prst="rect">
            <a:avLst/>
          </a:prstGeom>
          <a:solidFill>
            <a:srgbClr val="2E827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rédio Comercial | China</a:t>
            </a:r>
          </a:p>
        </p:txBody>
      </p:sp>
      <p:sp>
        <p:nvSpPr>
          <p:cNvPr id="20" name="Retângulo 19"/>
          <p:cNvSpPr/>
          <p:nvPr/>
        </p:nvSpPr>
        <p:spPr>
          <a:xfrm>
            <a:off x="1882654" y="3360471"/>
            <a:ext cx="1925494" cy="192485"/>
          </a:xfrm>
          <a:prstGeom prst="rect">
            <a:avLst/>
          </a:prstGeom>
          <a:solidFill>
            <a:srgbClr val="2E827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Hotel | Portugal</a:t>
            </a:r>
          </a:p>
        </p:txBody>
      </p:sp>
      <p:sp>
        <p:nvSpPr>
          <p:cNvPr id="21" name="Retângulo 20"/>
          <p:cNvSpPr/>
          <p:nvPr/>
        </p:nvSpPr>
        <p:spPr>
          <a:xfrm>
            <a:off x="5078302" y="5490239"/>
            <a:ext cx="1925494" cy="192485"/>
          </a:xfrm>
          <a:prstGeom prst="rect">
            <a:avLst/>
          </a:prstGeom>
          <a:solidFill>
            <a:srgbClr val="2E827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ond. Residencial | Alemanha</a:t>
            </a:r>
          </a:p>
        </p:txBody>
      </p:sp>
      <p:sp>
        <p:nvSpPr>
          <p:cNvPr id="25" name="Retângulo 24"/>
          <p:cNvSpPr/>
          <p:nvPr/>
        </p:nvSpPr>
        <p:spPr>
          <a:xfrm>
            <a:off x="5078302" y="3387767"/>
            <a:ext cx="1925494" cy="192485"/>
          </a:xfrm>
          <a:prstGeom prst="rect">
            <a:avLst/>
          </a:prstGeom>
          <a:solidFill>
            <a:srgbClr val="2E827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ond. Residencial | Alemanha</a:t>
            </a:r>
          </a:p>
        </p:txBody>
      </p:sp>
    </p:spTree>
    <p:extLst>
      <p:ext uri="{BB962C8B-B14F-4D97-AF65-F5344CB8AC3E}">
        <p14:creationId xmlns:p14="http://schemas.microsoft.com/office/powerpoint/2010/main" val="259501793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genda</a:t>
            </a:r>
            <a:endParaRPr lang="pt-BR" dirty="0"/>
          </a:p>
        </p:txBody>
      </p:sp>
      <p:sp>
        <p:nvSpPr>
          <p:cNvPr id="5" name="CaixaDeTexto 4"/>
          <p:cNvSpPr txBox="1"/>
          <p:nvPr/>
        </p:nvSpPr>
        <p:spPr>
          <a:xfrm>
            <a:off x="960826" y="2177795"/>
            <a:ext cx="677475" cy="646331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3600" b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6" name="CaixaDeTexto 5"/>
          <p:cNvSpPr txBox="1"/>
          <p:nvPr/>
        </p:nvSpPr>
        <p:spPr>
          <a:xfrm>
            <a:off x="1807650" y="2298769"/>
            <a:ext cx="43380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pt-BR" sz="2400" dirty="0">
                <a:latin typeface="Arial" panose="020B0604020202020204" pitchFamily="34" charset="0"/>
                <a:cs typeface="Arial" panose="020B0604020202020204" pitchFamily="34" charset="0"/>
              </a:rPr>
              <a:t>Contexto e Cenário nacional</a:t>
            </a:r>
          </a:p>
        </p:txBody>
      </p:sp>
      <p:cxnSp>
        <p:nvCxnSpPr>
          <p:cNvPr id="7" name="Conector reto 6"/>
          <p:cNvCxnSpPr/>
          <p:nvPr/>
        </p:nvCxnSpPr>
        <p:spPr bwMode="auto">
          <a:xfrm>
            <a:off x="960826" y="2943969"/>
            <a:ext cx="7823049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CaixaDeTexto 7"/>
          <p:cNvSpPr txBox="1"/>
          <p:nvPr/>
        </p:nvSpPr>
        <p:spPr>
          <a:xfrm>
            <a:off x="960825" y="3105270"/>
            <a:ext cx="677475" cy="646331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36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pt-BR" sz="3600" b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1807649" y="3226244"/>
            <a:ext cx="68080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pt-BR" sz="2400" dirty="0">
                <a:latin typeface="Arial" panose="020B0604020202020204" pitchFamily="34" charset="0"/>
                <a:cs typeface="Arial" panose="020B0604020202020204" pitchFamily="34" charset="0"/>
              </a:rPr>
              <a:t>Programa de Eficiência Energética da ANEEL</a:t>
            </a:r>
          </a:p>
        </p:txBody>
      </p:sp>
      <p:cxnSp>
        <p:nvCxnSpPr>
          <p:cNvPr id="10" name="Conector reto 9"/>
          <p:cNvCxnSpPr/>
          <p:nvPr/>
        </p:nvCxnSpPr>
        <p:spPr bwMode="auto">
          <a:xfrm>
            <a:off x="960825" y="3871444"/>
            <a:ext cx="7823049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CaixaDeTexto 10"/>
          <p:cNvSpPr txBox="1"/>
          <p:nvPr/>
        </p:nvSpPr>
        <p:spPr>
          <a:xfrm>
            <a:off x="960825" y="4032744"/>
            <a:ext cx="677475" cy="646331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3600" b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1807649" y="4153718"/>
            <a:ext cx="49784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pt-BR" sz="2400" dirty="0">
                <a:latin typeface="Arial" panose="020B0604020202020204" pitchFamily="34" charset="0"/>
                <a:cs typeface="Arial" panose="020B0604020202020204" pitchFamily="34" charset="0"/>
              </a:rPr>
              <a:t>Projetos do Grupo CPFL Energia</a:t>
            </a:r>
          </a:p>
        </p:txBody>
      </p:sp>
    </p:spTree>
    <p:extLst>
      <p:ext uri="{BB962C8B-B14F-4D97-AF65-F5344CB8AC3E}">
        <p14:creationId xmlns:p14="http://schemas.microsoft.com/office/powerpoint/2010/main" val="678225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 rotWithShape="1">
          <a:blip r:embed="rId3"/>
          <a:srcRect l="27144" r="18654"/>
          <a:stretch/>
        </p:blipFill>
        <p:spPr bwMode="auto">
          <a:xfrm>
            <a:off x="6079763" y="1697379"/>
            <a:ext cx="2825087" cy="3909171"/>
          </a:xfrm>
          <a:prstGeom prst="round2DiagRect">
            <a:avLst>
              <a:gd name="adj1" fmla="val 11954"/>
              <a:gd name="adj2" fmla="val 0"/>
            </a:avLst>
          </a:prstGeom>
          <a:ln w="88900" cap="sq">
            <a:noFill/>
            <a:miter lim="800000"/>
          </a:ln>
          <a:effectLst/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964260" y="1697379"/>
            <a:ext cx="1973874" cy="3909171"/>
          </a:xfrm>
          <a:prstGeom prst="round2DiagRect">
            <a:avLst>
              <a:gd name="adj1" fmla="val 11954"/>
              <a:gd name="adj2" fmla="val 0"/>
            </a:avLst>
          </a:prstGeom>
          <a:ln w="88900" cap="sq">
            <a:noFill/>
            <a:miter lim="800000"/>
          </a:ln>
          <a:effectLst/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97171" y="4111744"/>
            <a:ext cx="2767961" cy="1494802"/>
          </a:xfrm>
          <a:prstGeom prst="round2DiagRect">
            <a:avLst>
              <a:gd name="adj1" fmla="val 11954"/>
              <a:gd name="adj2" fmla="val 0"/>
            </a:avLst>
          </a:prstGeom>
          <a:ln w="88900" cap="sq">
            <a:noFill/>
            <a:miter lim="800000"/>
          </a:ln>
          <a:effectLst/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097171" y="1694555"/>
            <a:ext cx="2767961" cy="2306634"/>
          </a:xfrm>
          <a:prstGeom prst="round2DiagRect">
            <a:avLst>
              <a:gd name="adj1" fmla="val 11954"/>
              <a:gd name="adj2" fmla="val 0"/>
            </a:avLst>
          </a:prstGeom>
          <a:ln w="88900" cap="sq">
            <a:noFill/>
            <a:miter lim="800000"/>
          </a:ln>
          <a:effectLst/>
        </p:spPr>
      </p:pic>
      <p:sp>
        <p:nvSpPr>
          <p:cNvPr id="19" name="Retângulo 18"/>
          <p:cNvSpPr/>
          <p:nvPr/>
        </p:nvSpPr>
        <p:spPr>
          <a:xfrm>
            <a:off x="1097168" y="3804896"/>
            <a:ext cx="1925494" cy="192485"/>
          </a:xfrm>
          <a:prstGeom prst="rect">
            <a:avLst/>
          </a:prstGeom>
          <a:solidFill>
            <a:srgbClr val="2E827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Willis Tower |  EUA</a:t>
            </a:r>
          </a:p>
        </p:txBody>
      </p:sp>
      <p:sp>
        <p:nvSpPr>
          <p:cNvPr id="20" name="Retângulo 19"/>
          <p:cNvSpPr/>
          <p:nvPr/>
        </p:nvSpPr>
        <p:spPr>
          <a:xfrm>
            <a:off x="1097168" y="5404144"/>
            <a:ext cx="1925494" cy="192485"/>
          </a:xfrm>
          <a:prstGeom prst="rect">
            <a:avLst/>
          </a:prstGeom>
          <a:solidFill>
            <a:srgbClr val="2E827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Prédio público | Espanha</a:t>
            </a:r>
          </a:p>
        </p:txBody>
      </p:sp>
      <p:sp>
        <p:nvSpPr>
          <p:cNvPr id="21" name="Retângulo 20"/>
          <p:cNvSpPr/>
          <p:nvPr/>
        </p:nvSpPr>
        <p:spPr>
          <a:xfrm>
            <a:off x="3977490" y="5404144"/>
            <a:ext cx="1597306" cy="192485"/>
          </a:xfrm>
          <a:prstGeom prst="rect">
            <a:avLst/>
          </a:prstGeom>
          <a:solidFill>
            <a:srgbClr val="2E827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CIS Tower|  Inglaterra</a:t>
            </a:r>
          </a:p>
        </p:txBody>
      </p:sp>
      <p:sp>
        <p:nvSpPr>
          <p:cNvPr id="22" name="Retângulo 21"/>
          <p:cNvSpPr/>
          <p:nvPr/>
        </p:nvSpPr>
        <p:spPr>
          <a:xfrm>
            <a:off x="6065721" y="5404144"/>
            <a:ext cx="1597306" cy="192485"/>
          </a:xfrm>
          <a:prstGeom prst="rect">
            <a:avLst/>
          </a:prstGeom>
          <a:solidFill>
            <a:srgbClr val="2E827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Sede banco|  Inglaterra</a:t>
            </a: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Solar filmes finos | Prédios de </a:t>
            </a:r>
            <a:r>
              <a:rPr lang="pt-BR" dirty="0" smtClean="0"/>
              <a:t>vidr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389208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que é o PEE</a:t>
            </a:r>
            <a:r>
              <a:rPr lang="pt-BR" dirty="0" smtClean="0"/>
              <a:t>?</a:t>
            </a:r>
            <a:endParaRPr lang="pt-BR" dirty="0"/>
          </a:p>
        </p:txBody>
      </p:sp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tângulo 6"/>
          <p:cNvSpPr/>
          <p:nvPr/>
        </p:nvSpPr>
        <p:spPr>
          <a:xfrm>
            <a:off x="597900" y="1417658"/>
            <a:ext cx="8750525" cy="4503787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pPr algn="just" defTabSz="914296">
              <a:lnSpc>
                <a:spcPts val="2846"/>
              </a:lnSpc>
              <a:spcBef>
                <a:spcPts val="600"/>
              </a:spcBef>
              <a:spcAft>
                <a:spcPts val="600"/>
              </a:spcAft>
              <a:tabLst>
                <a:tab pos="5283621" algn="l"/>
              </a:tabLst>
            </a:pPr>
            <a:r>
              <a:rPr lang="pt-BR" sz="1400" dirty="0">
                <a:solidFill>
                  <a:srgbClr val="004853"/>
                </a:solidFill>
              </a:rPr>
              <a:t>Desenvolvimento de projetos de eficiência energética junto às comunidades residenciais, entidades privadas e órgãos públicos, disseminando a utilização inteligente de energia elétrica e a instalação de equipamentos eficientes, com foco na inovação tecnológica, sustentabilidade e preservação dos recursos naturais.  </a:t>
            </a:r>
          </a:p>
          <a:p>
            <a:pPr algn="just" defTabSz="914296">
              <a:lnSpc>
                <a:spcPts val="2846"/>
              </a:lnSpc>
              <a:spcBef>
                <a:spcPts val="600"/>
              </a:spcBef>
              <a:spcAft>
                <a:spcPts val="600"/>
              </a:spcAft>
              <a:tabLst>
                <a:tab pos="5283621" algn="l"/>
              </a:tabLst>
            </a:pPr>
            <a:endParaRPr lang="pt-BR" sz="1400" dirty="0">
              <a:solidFill>
                <a:srgbClr val="004853"/>
              </a:solidFill>
            </a:endParaRPr>
          </a:p>
          <a:p>
            <a:pPr algn="just" defTabSz="914296">
              <a:lnSpc>
                <a:spcPts val="2846"/>
              </a:lnSpc>
              <a:spcBef>
                <a:spcPts val="600"/>
              </a:spcBef>
              <a:spcAft>
                <a:spcPts val="600"/>
              </a:spcAft>
              <a:tabLst>
                <a:tab pos="5283621" algn="l"/>
              </a:tabLst>
            </a:pPr>
            <a:r>
              <a:rPr lang="pt-BR" sz="2000" dirty="0">
                <a:solidFill>
                  <a:srgbClr val="004853"/>
                </a:solidFill>
              </a:rPr>
              <a:t>Quais os principais objetivos?</a:t>
            </a:r>
          </a:p>
          <a:p>
            <a:pPr algn="just" defTabSz="914296">
              <a:lnSpc>
                <a:spcPts val="2846"/>
              </a:lnSpc>
              <a:spcBef>
                <a:spcPts val="600"/>
              </a:spcBef>
              <a:spcAft>
                <a:spcPts val="600"/>
              </a:spcAft>
              <a:tabLst>
                <a:tab pos="5283621" algn="l"/>
              </a:tabLst>
            </a:pPr>
            <a:r>
              <a:rPr lang="pt-BR" sz="1400" dirty="0">
                <a:solidFill>
                  <a:srgbClr val="004853"/>
                </a:solidFill>
              </a:rPr>
              <a:t>Promover a eficiência energética e o combate ao desperdício de energia, contribuindo com a ampliação da consciência e mudanças de hábitos da sociedade sobre o tema, tendo como metas a redução do consumo de energia e a retirada de demanda na ponta, otimizando o sistema elétrico e subsidiando o desenvolvimento econômico e social.</a:t>
            </a:r>
          </a:p>
        </p:txBody>
      </p:sp>
    </p:spTree>
    <p:extLst>
      <p:ext uri="{BB962C8B-B14F-4D97-AF65-F5344CB8AC3E}">
        <p14:creationId xmlns:p14="http://schemas.microsoft.com/office/powerpoint/2010/main" val="403684695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3"/>
          <p:cNvSpPr txBox="1">
            <a:spLocks noChangeArrowheads="1"/>
          </p:cNvSpPr>
          <p:nvPr/>
        </p:nvSpPr>
        <p:spPr bwMode="auto">
          <a:xfrm>
            <a:off x="995365" y="958638"/>
            <a:ext cx="7487646" cy="510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endParaRPr lang="pt-BR" sz="1400" dirty="0">
              <a:solidFill>
                <a:schemeClr val="tx1">
                  <a:lumMod val="65000"/>
                  <a:lumOff val="3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pt-BR" sz="1400" dirty="0">
              <a:solidFill>
                <a:schemeClr val="tx1">
                  <a:lumMod val="65000"/>
                  <a:lumOff val="3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defRPr/>
            </a:pPr>
            <a:endParaRPr lang="pt-BR" sz="1400" dirty="0">
              <a:solidFill>
                <a:schemeClr val="tx1">
                  <a:lumMod val="65000"/>
                  <a:lumOff val="3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defRPr/>
            </a:pPr>
            <a:endParaRPr lang="pt-BR" sz="1400" dirty="0">
              <a:solidFill>
                <a:schemeClr val="tx1">
                  <a:lumMod val="65000"/>
                  <a:lumOff val="3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defRPr/>
            </a:pPr>
            <a:endParaRPr lang="pt-BR" sz="1400" dirty="0">
              <a:solidFill>
                <a:schemeClr val="tx1">
                  <a:lumMod val="65000"/>
                  <a:lumOff val="3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defRPr/>
            </a:pPr>
            <a:endParaRPr lang="pt-BR" sz="1400" dirty="0">
              <a:solidFill>
                <a:schemeClr val="tx1">
                  <a:lumMod val="65000"/>
                  <a:lumOff val="3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4" name="Retângulo 23"/>
          <p:cNvSpPr/>
          <p:nvPr/>
        </p:nvSpPr>
        <p:spPr>
          <a:xfrm>
            <a:off x="1202775" y="1445170"/>
            <a:ext cx="7500450" cy="4524305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pPr marL="342861" indent="-342861" algn="l" defTabSz="914296">
              <a:spcBef>
                <a:spcPts val="600"/>
              </a:spcBef>
              <a:spcAft>
                <a:spcPts val="600"/>
              </a:spcAft>
              <a:buFontTx/>
              <a:buAutoNum type="alphaLcParenR"/>
            </a:pPr>
            <a:r>
              <a:rPr lang="pt-BR" sz="1200" dirty="0">
                <a:solidFill>
                  <a:srgbClr val="4F81BD">
                    <a:lumMod val="50000"/>
                  </a:srgb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ei N° 9.991, de 24 de julho de 2000, com alterações dadas pela Lei N° 10.438, de 26 de abril de 2002;</a:t>
            </a:r>
          </a:p>
          <a:p>
            <a:pPr marL="342861" indent="-342861" algn="l" defTabSz="914296">
              <a:spcBef>
                <a:spcPts val="600"/>
              </a:spcBef>
              <a:spcAft>
                <a:spcPts val="600"/>
              </a:spcAft>
              <a:buFontTx/>
              <a:buAutoNum type="alphaLcParenR"/>
            </a:pPr>
            <a:r>
              <a:rPr lang="pt-BR" sz="1200" dirty="0">
                <a:solidFill>
                  <a:srgbClr val="4F81BD">
                    <a:lumMod val="50000"/>
                  </a:srgb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ei N° 10.848, de 15 de março de 2004;</a:t>
            </a:r>
          </a:p>
          <a:p>
            <a:pPr marL="342861" indent="-342861" algn="l" defTabSz="914296">
              <a:spcBef>
                <a:spcPts val="600"/>
              </a:spcBef>
              <a:spcAft>
                <a:spcPts val="600"/>
              </a:spcAft>
              <a:buFontTx/>
              <a:buAutoNum type="alphaLcParenR"/>
            </a:pPr>
            <a:r>
              <a:rPr lang="pt-BR" sz="1200" dirty="0">
                <a:solidFill>
                  <a:srgbClr val="4F81BD">
                    <a:lumMod val="50000"/>
                  </a:srgb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ei N° 11.465, de 28 de março de 2007;</a:t>
            </a:r>
          </a:p>
          <a:p>
            <a:pPr marL="342861" indent="-342861" algn="l" defTabSz="914296">
              <a:spcBef>
                <a:spcPts val="600"/>
              </a:spcBef>
              <a:spcAft>
                <a:spcPts val="600"/>
              </a:spcAft>
              <a:buFontTx/>
              <a:buAutoNum type="alphaLcParenR"/>
            </a:pPr>
            <a:r>
              <a:rPr lang="pt-BR" sz="1200" dirty="0">
                <a:solidFill>
                  <a:srgbClr val="4F81BD">
                    <a:lumMod val="50000"/>
                  </a:srgb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ei N° 12.111, de 9 de dezembro de 2009;</a:t>
            </a:r>
          </a:p>
          <a:p>
            <a:pPr marL="342861" indent="-342861" algn="l" defTabSz="914296">
              <a:spcBef>
                <a:spcPts val="600"/>
              </a:spcBef>
              <a:spcAft>
                <a:spcPts val="600"/>
              </a:spcAft>
              <a:buFontTx/>
              <a:buAutoNum type="alphaLcParenR"/>
            </a:pPr>
            <a:r>
              <a:rPr lang="pt-BR" sz="1200" dirty="0">
                <a:solidFill>
                  <a:srgbClr val="4F81BD">
                    <a:lumMod val="50000"/>
                  </a:srgb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ei N° 12.212, de 20 de janeiro de 2010;</a:t>
            </a:r>
          </a:p>
          <a:p>
            <a:pPr marL="342861" indent="-342861" algn="l" defTabSz="914296">
              <a:spcBef>
                <a:spcPts val="600"/>
              </a:spcBef>
              <a:spcAft>
                <a:spcPts val="600"/>
              </a:spcAft>
              <a:buFontTx/>
              <a:buAutoNum type="alphaLcParenR"/>
            </a:pPr>
            <a:r>
              <a:rPr lang="pt-BR" sz="1200" dirty="0">
                <a:solidFill>
                  <a:srgbClr val="4F81BD">
                    <a:lumMod val="50000"/>
                  </a:srgb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ecreto N° 2.335, de 6 de outubro de 1997</a:t>
            </a:r>
            <a:r>
              <a:rPr lang="pt-BR" sz="1200" dirty="0" smtClean="0">
                <a:solidFill>
                  <a:srgbClr val="4F81BD">
                    <a:lumMod val="50000"/>
                  </a:srgb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;</a:t>
            </a:r>
          </a:p>
          <a:p>
            <a:pPr marL="342861" indent="-342861" algn="l" defTabSz="914296">
              <a:spcBef>
                <a:spcPts val="600"/>
              </a:spcBef>
              <a:spcAft>
                <a:spcPts val="600"/>
              </a:spcAft>
              <a:buFont typeface="+mj-lt"/>
              <a:buAutoNum type="alphaLcParenR" startAt="7"/>
            </a:pPr>
            <a:r>
              <a:rPr lang="pt-BR" sz="1200" dirty="0">
                <a:solidFill>
                  <a:srgbClr val="4F81BD">
                    <a:lumMod val="50000"/>
                  </a:srgb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ecreto N° 3.867, de 16 de julho de 2001;</a:t>
            </a:r>
          </a:p>
          <a:p>
            <a:pPr marL="342861" indent="-342861" algn="l" defTabSz="914296">
              <a:spcBef>
                <a:spcPts val="600"/>
              </a:spcBef>
              <a:spcAft>
                <a:spcPts val="600"/>
              </a:spcAft>
              <a:buFontTx/>
              <a:buAutoNum type="alphaLcParenR" startAt="7"/>
            </a:pPr>
            <a:r>
              <a:rPr lang="pt-BR" sz="1200" dirty="0">
                <a:solidFill>
                  <a:srgbClr val="4F81BD">
                    <a:lumMod val="50000"/>
                  </a:srgb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ecreto N° 5.879, de 22 de agosto de 2006;</a:t>
            </a:r>
          </a:p>
          <a:p>
            <a:pPr marL="342861" indent="-342861" algn="l" defTabSz="914296">
              <a:spcBef>
                <a:spcPts val="600"/>
              </a:spcBef>
              <a:spcAft>
                <a:spcPts val="600"/>
              </a:spcAft>
              <a:buFontTx/>
              <a:buAutoNum type="alphaLcParenR" startAt="7"/>
            </a:pPr>
            <a:r>
              <a:rPr lang="pt-BR" sz="1200" dirty="0">
                <a:solidFill>
                  <a:srgbClr val="4F81BD">
                    <a:lumMod val="50000"/>
                  </a:srgb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ecreto N° 7.204, de 8 de junho de 2010;</a:t>
            </a:r>
          </a:p>
          <a:p>
            <a:pPr marL="342861" indent="-342861" algn="l" defTabSz="914296">
              <a:spcBef>
                <a:spcPts val="600"/>
              </a:spcBef>
              <a:spcAft>
                <a:spcPts val="600"/>
              </a:spcAft>
              <a:buFontTx/>
              <a:buAutoNum type="alphaLcParenR" startAt="7"/>
            </a:pPr>
            <a:r>
              <a:rPr lang="pt-BR" sz="1200" dirty="0">
                <a:solidFill>
                  <a:srgbClr val="4F81BD">
                    <a:lumMod val="50000"/>
                  </a:srgb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solução Normativa N° 300, de 12 de fevereiro de 2008;</a:t>
            </a:r>
          </a:p>
          <a:p>
            <a:pPr marL="342861" indent="-342861" algn="l" defTabSz="914296">
              <a:spcBef>
                <a:spcPts val="600"/>
              </a:spcBef>
              <a:spcAft>
                <a:spcPts val="600"/>
              </a:spcAft>
              <a:buFontTx/>
              <a:buAutoNum type="alphaLcParenR" startAt="7"/>
            </a:pPr>
            <a:r>
              <a:rPr lang="pt-BR" sz="1200" dirty="0">
                <a:solidFill>
                  <a:srgbClr val="4F81BD">
                    <a:lumMod val="50000"/>
                  </a:srgb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solução Normativa N° 556, de 02 de julho de 2013;</a:t>
            </a:r>
          </a:p>
          <a:p>
            <a:pPr marL="342861" indent="-342861" algn="l" defTabSz="914296">
              <a:spcBef>
                <a:spcPts val="600"/>
              </a:spcBef>
              <a:spcAft>
                <a:spcPts val="600"/>
              </a:spcAft>
              <a:buFontTx/>
              <a:buAutoNum type="alphaLcParenR" startAt="7"/>
            </a:pPr>
            <a:r>
              <a:rPr lang="pt-BR" sz="1200" dirty="0">
                <a:solidFill>
                  <a:srgbClr val="4F81BD">
                    <a:lumMod val="50000"/>
                  </a:srgb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ei N° 13.303, de 08 de dezembro de 2015;</a:t>
            </a:r>
          </a:p>
          <a:p>
            <a:pPr marL="342861" indent="-342861" algn="l" defTabSz="914296">
              <a:spcBef>
                <a:spcPts val="600"/>
              </a:spcBef>
              <a:spcAft>
                <a:spcPts val="600"/>
              </a:spcAft>
              <a:buFontTx/>
              <a:buAutoNum type="alphaLcParenR" startAt="7"/>
            </a:pPr>
            <a:r>
              <a:rPr lang="pt-BR" sz="1200" dirty="0">
                <a:solidFill>
                  <a:srgbClr val="4F81BD">
                    <a:lumMod val="50000"/>
                  </a:srgb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ei N° 13.280, de 13 de maio de </a:t>
            </a:r>
            <a:r>
              <a:rPr lang="pt-BR" sz="1200" dirty="0" smtClean="0">
                <a:solidFill>
                  <a:srgbClr val="4F81BD">
                    <a:lumMod val="50000"/>
                  </a:srgbClr>
                </a:solidFill>
                <a:ea typeface="Verdana" panose="020B0604030504040204" pitchFamily="34" charset="0"/>
                <a:cs typeface="Verdana" panose="020B0604030504040204" pitchFamily="34" charset="0"/>
              </a:rPr>
              <a:t>2016.</a:t>
            </a:r>
            <a:endParaRPr lang="pt-BR" sz="1200" dirty="0">
              <a:solidFill>
                <a:srgbClr val="4F81BD">
                  <a:lumMod val="50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Legislação - </a:t>
            </a:r>
            <a:r>
              <a:rPr lang="pt-BR" dirty="0" smtClean="0"/>
              <a:t>PE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5558354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500" y="1412750"/>
            <a:ext cx="8083299" cy="4402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Regra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4561801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4294967295"/>
          </p:nvPr>
        </p:nvSpPr>
        <p:spPr>
          <a:xfrm>
            <a:off x="557575" y="1895312"/>
            <a:ext cx="8824912" cy="3307988"/>
          </a:xfrm>
          <a:prstGeom prst="rect">
            <a:avLst/>
          </a:prstGeom>
        </p:spPr>
        <p:txBody>
          <a:bodyPr>
            <a:noAutofit/>
          </a:bodyPr>
          <a:lstStyle/>
          <a:p>
            <a:pPr algn="just">
              <a:lnSpc>
                <a:spcPct val="100000"/>
              </a:lnSpc>
              <a:spcAft>
                <a:spcPts val="600"/>
              </a:spcAft>
              <a:buFont typeface="Arial" charset="0"/>
              <a:buAutoNum type="arabicPeriod"/>
              <a:defRPr/>
            </a:pPr>
            <a:r>
              <a:rPr lang="pt-BR" sz="3600" dirty="0">
                <a:solidFill>
                  <a:srgbClr val="004853"/>
                </a:solidFill>
              </a:rPr>
              <a:t>Investimentos: R$ 5,7 </a:t>
            </a:r>
            <a:r>
              <a:rPr lang="pt-BR" sz="3600" dirty="0" smtClean="0">
                <a:solidFill>
                  <a:srgbClr val="004853"/>
                </a:solidFill>
              </a:rPr>
              <a:t>bilhões</a:t>
            </a:r>
            <a:endParaRPr lang="pt-BR" sz="3600" dirty="0">
              <a:solidFill>
                <a:srgbClr val="004853"/>
              </a:solidFill>
            </a:endParaRPr>
          </a:p>
          <a:p>
            <a:pPr algn="just">
              <a:lnSpc>
                <a:spcPct val="100000"/>
              </a:lnSpc>
              <a:spcAft>
                <a:spcPts val="600"/>
              </a:spcAft>
              <a:buFont typeface="Arial" charset="0"/>
              <a:buAutoNum type="arabicPeriod"/>
              <a:defRPr/>
            </a:pPr>
            <a:r>
              <a:rPr lang="pt-BR" sz="3600" dirty="0">
                <a:solidFill>
                  <a:srgbClr val="004853"/>
                </a:solidFill>
              </a:rPr>
              <a:t>Energia elétrica economizada: 9,1 </a:t>
            </a:r>
            <a:r>
              <a:rPr lang="pt-BR" sz="3600" dirty="0" err="1">
                <a:solidFill>
                  <a:srgbClr val="004853"/>
                </a:solidFill>
              </a:rPr>
              <a:t>TWh</a:t>
            </a:r>
            <a:r>
              <a:rPr lang="pt-BR" sz="3600" dirty="0">
                <a:solidFill>
                  <a:srgbClr val="004853"/>
                </a:solidFill>
              </a:rPr>
              <a:t>/ano</a:t>
            </a:r>
          </a:p>
          <a:p>
            <a:pPr algn="just">
              <a:lnSpc>
                <a:spcPct val="100000"/>
              </a:lnSpc>
              <a:spcAft>
                <a:spcPts val="600"/>
              </a:spcAft>
              <a:buFont typeface="Arial" charset="0"/>
              <a:buAutoNum type="arabicPeriod"/>
              <a:defRPr/>
            </a:pPr>
            <a:r>
              <a:rPr lang="pt-BR" sz="3600" dirty="0">
                <a:solidFill>
                  <a:srgbClr val="004853"/>
                </a:solidFill>
              </a:rPr>
              <a:t>Demanda retirada da ponta: 2,8 GW</a:t>
            </a:r>
          </a:p>
          <a:p>
            <a:pPr algn="just">
              <a:lnSpc>
                <a:spcPct val="100000"/>
              </a:lnSpc>
              <a:spcAft>
                <a:spcPts val="600"/>
              </a:spcAft>
              <a:buFont typeface="Arial" charset="0"/>
              <a:buAutoNum type="arabicPeriod"/>
              <a:defRPr/>
            </a:pPr>
            <a:r>
              <a:rPr lang="pt-BR" sz="3600" dirty="0" smtClean="0">
                <a:solidFill>
                  <a:srgbClr val="004853"/>
                </a:solidFill>
              </a:rPr>
              <a:t>Mais de 4.000 projetos</a:t>
            </a:r>
            <a:endParaRPr lang="pt-BR" sz="3600" dirty="0">
              <a:solidFill>
                <a:srgbClr val="004853"/>
              </a:solidFill>
            </a:endParaRPr>
          </a:p>
        </p:txBody>
      </p:sp>
      <p:sp>
        <p:nvSpPr>
          <p:cNvPr id="33796" name="Espaço Reservado para Número de Slide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594600" y="6356350"/>
            <a:ext cx="23114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4356430F-9D2D-434D-974C-3EE7A10108D0}" type="slidenum">
              <a:rPr lang="en-US" altLang="pt-BR" sz="1200">
                <a:solidFill>
                  <a:srgbClr val="0092C3"/>
                </a:solidFill>
                <a:latin typeface="Calibri" pitchFamily="34" charset="0"/>
              </a:rPr>
              <a:pPr eaLnBrk="1" hangingPunct="1"/>
              <a:t>24</a:t>
            </a:fld>
            <a:endParaRPr lang="en-US" altLang="pt-BR" sz="1200">
              <a:solidFill>
                <a:srgbClr val="0092C3"/>
              </a:solidFill>
              <a:latin typeface="Calibri" pitchFamily="34" charset="0"/>
            </a:endParaRPr>
          </a:p>
        </p:txBody>
      </p:sp>
      <p:sp>
        <p:nvSpPr>
          <p:cNvPr id="9" name="Título 2"/>
          <p:cNvSpPr txBox="1">
            <a:spLocks/>
          </p:cNvSpPr>
          <p:nvPr/>
        </p:nvSpPr>
        <p:spPr>
          <a:xfrm>
            <a:off x="355949" y="41700"/>
            <a:ext cx="8225745" cy="8885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pt-BR" b="0" dirty="0"/>
              <a:t>Investimentos e resultados dos </a:t>
            </a:r>
            <a:r>
              <a:rPr lang="pt-BR" b="0" dirty="0" err="1" smtClean="0"/>
              <a:t>PEEs</a:t>
            </a:r>
            <a:endParaRPr lang="pt-BR" b="0" dirty="0"/>
          </a:p>
        </p:txBody>
      </p:sp>
    </p:spTree>
    <p:extLst>
      <p:ext uri="{BB962C8B-B14F-4D97-AF65-F5344CB8AC3E}">
        <p14:creationId xmlns:p14="http://schemas.microsoft.com/office/powerpoint/2010/main" val="15398250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/>
              <a:t>Eficiência Energética</a:t>
            </a:r>
            <a:br>
              <a:rPr lang="pt-BR" dirty="0"/>
            </a:br>
            <a:r>
              <a:rPr lang="pt-BR" dirty="0"/>
              <a:t>Histórico de </a:t>
            </a:r>
            <a:r>
              <a:rPr lang="pt-BR" dirty="0" smtClean="0"/>
              <a:t>realizações</a:t>
            </a:r>
            <a:endParaRPr lang="pt-BR" dirty="0"/>
          </a:p>
        </p:txBody>
      </p:sp>
      <p:sp>
        <p:nvSpPr>
          <p:cNvPr id="23" name="Rectangle 3"/>
          <p:cNvSpPr txBox="1">
            <a:spLocks noChangeArrowheads="1"/>
          </p:cNvSpPr>
          <p:nvPr/>
        </p:nvSpPr>
        <p:spPr bwMode="auto">
          <a:xfrm>
            <a:off x="995365" y="958638"/>
            <a:ext cx="7487646" cy="510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endParaRPr lang="pt-BR" sz="1400" dirty="0">
              <a:solidFill>
                <a:schemeClr val="tx1">
                  <a:lumMod val="65000"/>
                  <a:lumOff val="3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pt-BR" sz="1400" dirty="0">
              <a:solidFill>
                <a:schemeClr val="tx1">
                  <a:lumMod val="65000"/>
                  <a:lumOff val="3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defRPr/>
            </a:pPr>
            <a:endParaRPr lang="pt-BR" sz="1400" dirty="0">
              <a:solidFill>
                <a:schemeClr val="tx1">
                  <a:lumMod val="65000"/>
                  <a:lumOff val="3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defRPr/>
            </a:pPr>
            <a:endParaRPr lang="pt-BR" sz="1400" dirty="0">
              <a:solidFill>
                <a:schemeClr val="tx1">
                  <a:lumMod val="65000"/>
                  <a:lumOff val="3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defRPr/>
            </a:pPr>
            <a:endParaRPr lang="pt-BR" sz="1400" dirty="0">
              <a:solidFill>
                <a:schemeClr val="tx1">
                  <a:lumMod val="65000"/>
                  <a:lumOff val="3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defRPr/>
            </a:pPr>
            <a:endParaRPr lang="pt-BR" sz="1400" dirty="0">
              <a:solidFill>
                <a:schemeClr val="tx1">
                  <a:lumMod val="65000"/>
                  <a:lumOff val="3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3"/>
          <a:srcRect l="42252" t="31297" r="39485" b="41141"/>
          <a:stretch/>
        </p:blipFill>
        <p:spPr>
          <a:xfrm>
            <a:off x="5961113" y="1647478"/>
            <a:ext cx="3103168" cy="263299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4"/>
          <a:srcRect l="5726" t="31297" r="68816" b="27360"/>
          <a:stretch/>
        </p:blipFill>
        <p:spPr>
          <a:xfrm>
            <a:off x="920552" y="1628800"/>
            <a:ext cx="4176464" cy="3813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49991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Quais </a:t>
            </a:r>
            <a:r>
              <a:rPr lang="pt-BR" dirty="0"/>
              <a:t>as regras do Programa de Eficiência Energética</a:t>
            </a:r>
            <a:r>
              <a:rPr lang="pt-BR" dirty="0" smtClean="0"/>
              <a:t>?</a:t>
            </a:r>
            <a:endParaRPr lang="pt-BR" dirty="0"/>
          </a:p>
        </p:txBody>
      </p:sp>
      <p:sp>
        <p:nvSpPr>
          <p:cNvPr id="6" name="TextBox 1"/>
          <p:cNvSpPr txBox="1"/>
          <p:nvPr/>
        </p:nvSpPr>
        <p:spPr>
          <a:xfrm>
            <a:off x="557086" y="1211125"/>
            <a:ext cx="8788403" cy="5166880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marL="342900" indent="-342900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ingdings" pitchFamily="2" charset="2"/>
              <a:buChar char="§"/>
              <a:tabLst>
                <a:tab pos="2095500" algn="l"/>
                <a:tab pos="2571750" algn="l"/>
              </a:tabLst>
              <a:defRPr/>
            </a:pPr>
            <a:r>
              <a:rPr lang="en-US" altLang="zh-CN" sz="1400" dirty="0" err="1" smtClean="0">
                <a:solidFill>
                  <a:srgbClr val="004853"/>
                </a:solidFill>
              </a:rPr>
              <a:t>Aplicação</a:t>
            </a:r>
            <a:r>
              <a:rPr lang="en-US" altLang="zh-CN" sz="1400" dirty="0" smtClean="0">
                <a:solidFill>
                  <a:srgbClr val="004853"/>
                </a:solidFill>
              </a:rPr>
              <a:t> </a:t>
            </a:r>
            <a:r>
              <a:rPr lang="en-US" altLang="zh-CN" sz="1400" dirty="0">
                <a:solidFill>
                  <a:srgbClr val="004853"/>
                </a:solidFill>
              </a:rPr>
              <a:t>minima de 0,5% da ROL – manual PROPEE</a:t>
            </a:r>
            <a:r>
              <a:rPr lang="en-US" altLang="zh-CN" sz="1400" dirty="0" smtClean="0">
                <a:solidFill>
                  <a:srgbClr val="004853"/>
                </a:solidFill>
              </a:rPr>
              <a:t>;</a:t>
            </a:r>
          </a:p>
          <a:p>
            <a:pPr marL="342900" indent="-342900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ingdings" pitchFamily="2" charset="2"/>
              <a:buChar char="§"/>
              <a:tabLst>
                <a:tab pos="2095500" algn="l"/>
                <a:tab pos="2571750" algn="l"/>
              </a:tabLst>
              <a:defRPr/>
            </a:pPr>
            <a:r>
              <a:rPr lang="en-US" altLang="zh-CN" sz="1400" dirty="0" err="1">
                <a:solidFill>
                  <a:srgbClr val="004853"/>
                </a:solidFill>
              </a:rPr>
              <a:t>Obrigação</a:t>
            </a:r>
            <a:r>
              <a:rPr lang="en-US" altLang="zh-CN" sz="1400" dirty="0">
                <a:solidFill>
                  <a:srgbClr val="004853"/>
                </a:solidFill>
              </a:rPr>
              <a:t> de </a:t>
            </a:r>
            <a:r>
              <a:rPr lang="en-US" altLang="zh-CN" sz="1400" dirty="0" err="1">
                <a:solidFill>
                  <a:srgbClr val="004853"/>
                </a:solidFill>
              </a:rPr>
              <a:t>repasse</a:t>
            </a:r>
            <a:r>
              <a:rPr lang="en-US" altLang="zh-CN" sz="1400" dirty="0">
                <a:solidFill>
                  <a:srgbClr val="004853"/>
                </a:solidFill>
              </a:rPr>
              <a:t> </a:t>
            </a:r>
            <a:r>
              <a:rPr lang="en-US" altLang="zh-CN" sz="1400" dirty="0" err="1">
                <a:solidFill>
                  <a:srgbClr val="004853"/>
                </a:solidFill>
              </a:rPr>
              <a:t>ao</a:t>
            </a:r>
            <a:r>
              <a:rPr lang="en-US" altLang="zh-CN" sz="1400" dirty="0">
                <a:solidFill>
                  <a:srgbClr val="004853"/>
                </a:solidFill>
              </a:rPr>
              <a:t> PROCEL de 20% do valor do PEE </a:t>
            </a:r>
            <a:r>
              <a:rPr lang="en-US" altLang="zh-CN" sz="1400" dirty="0" smtClean="0">
                <a:solidFill>
                  <a:srgbClr val="004853"/>
                </a:solidFill>
              </a:rPr>
              <a:t>annual;</a:t>
            </a:r>
            <a:endParaRPr lang="en-US" altLang="zh-CN" sz="1400" dirty="0">
              <a:solidFill>
                <a:srgbClr val="004853"/>
              </a:solidFill>
            </a:endParaRPr>
          </a:p>
          <a:p>
            <a:pPr marL="342900" indent="-342900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ingdings" pitchFamily="2" charset="2"/>
              <a:buChar char="§"/>
              <a:tabLst>
                <a:tab pos="2095500" algn="l"/>
                <a:tab pos="2571750" algn="l"/>
              </a:tabLst>
              <a:defRPr/>
            </a:pPr>
            <a:r>
              <a:rPr lang="en-US" altLang="zh-CN" sz="1400" dirty="0" err="1">
                <a:solidFill>
                  <a:srgbClr val="004853"/>
                </a:solidFill>
              </a:rPr>
              <a:t>Investimento</a:t>
            </a:r>
            <a:r>
              <a:rPr lang="en-US" altLang="zh-CN" sz="1400" dirty="0">
                <a:solidFill>
                  <a:srgbClr val="004853"/>
                </a:solidFill>
              </a:rPr>
              <a:t> </a:t>
            </a:r>
            <a:r>
              <a:rPr lang="en-US" altLang="zh-CN" sz="1400" dirty="0" smtClean="0">
                <a:solidFill>
                  <a:srgbClr val="004853"/>
                </a:solidFill>
              </a:rPr>
              <a:t>de </a:t>
            </a:r>
            <a:r>
              <a:rPr lang="en-US" altLang="zh-CN" sz="1400" dirty="0">
                <a:solidFill>
                  <a:srgbClr val="004853"/>
                </a:solidFill>
              </a:rPr>
              <a:t>até 80% do PEE aplicado em projetos destinados a clientes </a:t>
            </a:r>
            <a:r>
              <a:rPr lang="pt-BR" altLang="zh-CN" sz="1400" dirty="0">
                <a:solidFill>
                  <a:srgbClr val="004853"/>
                </a:solidFill>
              </a:rPr>
              <a:t>residenciais</a:t>
            </a:r>
            <a:r>
              <a:rPr lang="en-US" altLang="zh-CN" sz="1400" dirty="0">
                <a:solidFill>
                  <a:srgbClr val="004853"/>
                </a:solidFill>
              </a:rPr>
              <a:t> e rurais de baixa renda;</a:t>
            </a:r>
          </a:p>
          <a:p>
            <a:pPr marL="342900" indent="-342900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ingdings" pitchFamily="2" charset="2"/>
              <a:buChar char="§"/>
              <a:tabLst>
                <a:tab pos="2095500" algn="l"/>
                <a:tab pos="2571750" algn="l"/>
              </a:tabLst>
              <a:defRPr/>
            </a:pPr>
            <a:r>
              <a:rPr lang="en-US" altLang="zh-CN" sz="1400" dirty="0" err="1">
                <a:solidFill>
                  <a:srgbClr val="004853"/>
                </a:solidFill>
              </a:rPr>
              <a:t>Investimento</a:t>
            </a:r>
            <a:r>
              <a:rPr lang="en-US" altLang="zh-CN" sz="1400" dirty="0">
                <a:solidFill>
                  <a:srgbClr val="004853"/>
                </a:solidFill>
              </a:rPr>
              <a:t> de obrigatório de </a:t>
            </a:r>
            <a:r>
              <a:rPr lang="en-US" altLang="zh-CN" sz="1400" dirty="0" smtClean="0">
                <a:solidFill>
                  <a:srgbClr val="004853"/>
                </a:solidFill>
              </a:rPr>
              <a:t>50</a:t>
            </a:r>
            <a:r>
              <a:rPr lang="en-US" altLang="zh-CN" sz="1400" dirty="0">
                <a:solidFill>
                  <a:srgbClr val="004853"/>
                </a:solidFill>
              </a:rPr>
              <a:t>% do PEE nas duas maiores classes de consumo (residencial e industrial);</a:t>
            </a:r>
          </a:p>
          <a:p>
            <a:pPr marL="342900" indent="-342900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ingdings" pitchFamily="2" charset="2"/>
              <a:buChar char="§"/>
              <a:tabLst>
                <a:tab pos="2095500" algn="l"/>
                <a:tab pos="2571750" algn="l"/>
              </a:tabLst>
              <a:defRPr/>
            </a:pPr>
            <a:r>
              <a:rPr lang="en-US" altLang="zh-CN" sz="1400" dirty="0" err="1">
                <a:solidFill>
                  <a:srgbClr val="004853"/>
                </a:solidFill>
              </a:rPr>
              <a:t>Obrigação</a:t>
            </a:r>
            <a:r>
              <a:rPr lang="en-US" altLang="zh-CN" sz="1400" dirty="0">
                <a:solidFill>
                  <a:srgbClr val="004853"/>
                </a:solidFill>
              </a:rPr>
              <a:t> de realização de Chamada Pública de Projetos anualmente para todos os tipos de projetos do PEE com exceção dos projetos voltados a clientes residenciais e rurais de baixa renda, projetos educativos e projetos pilotos;</a:t>
            </a:r>
          </a:p>
          <a:p>
            <a:pPr marL="342900" indent="-342900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ingdings" pitchFamily="2" charset="2"/>
              <a:buChar char="§"/>
              <a:tabLst>
                <a:tab pos="2095500" algn="l"/>
                <a:tab pos="2571750" algn="l"/>
              </a:tabLst>
              <a:defRPr/>
            </a:pPr>
            <a:r>
              <a:rPr lang="en-US" altLang="zh-CN" sz="1400" dirty="0" err="1" smtClean="0">
                <a:solidFill>
                  <a:srgbClr val="004853"/>
                </a:solidFill>
              </a:rPr>
              <a:t>Investimos</a:t>
            </a:r>
            <a:r>
              <a:rPr lang="en-US" altLang="zh-CN" sz="1400" dirty="0" smtClean="0">
                <a:solidFill>
                  <a:srgbClr val="004853"/>
                </a:solidFill>
              </a:rPr>
              <a:t> </a:t>
            </a:r>
            <a:r>
              <a:rPr lang="en-US" altLang="zh-CN" sz="1400" dirty="0">
                <a:solidFill>
                  <a:srgbClr val="004853"/>
                </a:solidFill>
              </a:rPr>
              <a:t>até 5% do PEE/ano com marketing, publicidade e comunicação;</a:t>
            </a:r>
          </a:p>
          <a:p>
            <a:pPr marL="342900" indent="-342900" algn="l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Font typeface="Wingdings" pitchFamily="2" charset="2"/>
              <a:buChar char="§"/>
              <a:tabLst>
                <a:tab pos="2095500" algn="l"/>
                <a:tab pos="2571750" algn="l"/>
              </a:tabLst>
              <a:defRPr/>
            </a:pPr>
            <a:r>
              <a:rPr lang="en-US" altLang="zh-CN" sz="1400" dirty="0" err="1" smtClean="0">
                <a:solidFill>
                  <a:srgbClr val="004853"/>
                </a:solidFill>
              </a:rPr>
              <a:t>Clientes</a:t>
            </a:r>
            <a:r>
              <a:rPr lang="en-US" altLang="zh-CN" sz="1400" dirty="0" smtClean="0">
                <a:solidFill>
                  <a:srgbClr val="004853"/>
                </a:solidFill>
              </a:rPr>
              <a:t> </a:t>
            </a:r>
            <a:r>
              <a:rPr lang="en-US" altLang="zh-CN" sz="1400" dirty="0">
                <a:solidFill>
                  <a:srgbClr val="004853"/>
                </a:solidFill>
              </a:rPr>
              <a:t>com fins lucrativos participam do PEE na modalidade Contratos de Desempenho (pagam o valor da obra com a economia gerada). Clientes sem fins lucrativos o PEE é </a:t>
            </a:r>
            <a:r>
              <a:rPr lang="en-US" altLang="zh-CN" sz="1400" dirty="0" err="1">
                <a:solidFill>
                  <a:srgbClr val="004853"/>
                </a:solidFill>
              </a:rPr>
              <a:t>gratuito</a:t>
            </a:r>
            <a:r>
              <a:rPr lang="en-US" altLang="zh-CN" sz="1400" dirty="0" smtClean="0">
                <a:solidFill>
                  <a:srgbClr val="004853"/>
                </a:solidFill>
              </a:rPr>
              <a:t>.</a:t>
            </a:r>
            <a:endParaRPr lang="en-US" altLang="zh-CN" sz="1400" dirty="0">
              <a:solidFill>
                <a:srgbClr val="0048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80681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426363" y="3877892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5079453" y="3457047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 PROGRAMA DE EFICIÊNCIA </a:t>
            </a:r>
            <a:r>
              <a:rPr lang="pt-BR" dirty="0" smtClean="0"/>
              <a:t>ENERGÉTICA</a:t>
            </a:r>
            <a:endParaRPr lang="pt-BR" dirty="0"/>
          </a:p>
        </p:txBody>
      </p:sp>
      <p:sp>
        <p:nvSpPr>
          <p:cNvPr id="13" name="Retângulo 12"/>
          <p:cNvSpPr/>
          <p:nvPr/>
        </p:nvSpPr>
        <p:spPr>
          <a:xfrm>
            <a:off x="597900" y="1203498"/>
            <a:ext cx="8788402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296">
              <a:lnSpc>
                <a:spcPts val="919"/>
              </a:lnSpc>
            </a:pPr>
            <a:endParaRPr lang="en-US" altLang="zh-CN" dirty="0">
              <a:solidFill>
                <a:srgbClr val="1F497D"/>
              </a:solidFill>
            </a:endParaRPr>
          </a:p>
          <a:p>
            <a:pPr marL="92065" indent="-92065" algn="ctr" defTabSz="914296">
              <a:lnSpc>
                <a:spcPts val="2113"/>
              </a:lnSpc>
            </a:pPr>
            <a:r>
              <a:rPr lang="pt-BR" altLang="zh-CN" sz="2400" dirty="0">
                <a:solidFill>
                  <a:srgbClr val="004853"/>
                </a:solidFill>
              </a:rPr>
              <a:t>Distribuição PEE - 0,5% </a:t>
            </a:r>
            <a:r>
              <a:rPr lang="pt-BR" altLang="zh-CN" sz="2400" dirty="0" smtClean="0">
                <a:solidFill>
                  <a:srgbClr val="004853"/>
                </a:solidFill>
              </a:rPr>
              <a:t>ROL</a:t>
            </a:r>
            <a:endParaRPr lang="en-US" altLang="zh-CN" sz="2400" dirty="0">
              <a:solidFill>
                <a:srgbClr val="004853"/>
              </a:solidFill>
            </a:endParaRPr>
          </a:p>
        </p:txBody>
      </p:sp>
      <p:graphicFrame>
        <p:nvGraphicFramePr>
          <p:cNvPr id="14" name="Gráfico 13"/>
          <p:cNvGraphicFramePr/>
          <p:nvPr>
            <p:extLst>
              <p:ext uri="{D42A27DB-BD31-4B8C-83A1-F6EECF244321}">
                <p14:modId xmlns:p14="http://schemas.microsoft.com/office/powerpoint/2010/main" val="3819617561"/>
              </p:ext>
            </p:extLst>
          </p:nvPr>
        </p:nvGraphicFramePr>
        <p:xfrm>
          <a:off x="1677389" y="1999609"/>
          <a:ext cx="6629424" cy="4272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15900668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638" y="1735350"/>
            <a:ext cx="9607037" cy="3254785"/>
          </a:xfrm>
          <a:prstGeom prst="rect">
            <a:avLst/>
          </a:prstGeom>
        </p:spPr>
      </p:pic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HAMADA PÚBLICA DE PROJETOS - ANUAL</a:t>
            </a:r>
          </a:p>
        </p:txBody>
      </p:sp>
    </p:spTree>
    <p:extLst>
      <p:ext uri="{BB962C8B-B14F-4D97-AF65-F5344CB8AC3E}">
        <p14:creationId xmlns:p14="http://schemas.microsoft.com/office/powerpoint/2010/main" val="16834994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Portfólio de Projetos e Obras de </a:t>
            </a:r>
            <a:r>
              <a:rPr lang="pt-BR" dirty="0" smtClean="0"/>
              <a:t>EE</a:t>
            </a:r>
            <a:endParaRPr lang="pt-BR" dirty="0"/>
          </a:p>
        </p:txBody>
      </p:sp>
      <p:sp>
        <p:nvSpPr>
          <p:cNvPr id="9" name="TextBox 1"/>
          <p:cNvSpPr txBox="1"/>
          <p:nvPr/>
        </p:nvSpPr>
        <p:spPr>
          <a:xfrm>
            <a:off x="4192616" y="3434849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45706" y="3014004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pic>
        <p:nvPicPr>
          <p:cNvPr id="7" name="Imagem 7" descr="escola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4813" y="1274183"/>
            <a:ext cx="2039344" cy="127318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Imagem 8" descr="esgoto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208" y="1279822"/>
            <a:ext cx="2053563" cy="126754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agem 9" descr="hospital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528" y="1268760"/>
            <a:ext cx="2121654" cy="128559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tângulo de cantos arredondados 11"/>
          <p:cNvSpPr/>
          <p:nvPr/>
        </p:nvSpPr>
        <p:spPr>
          <a:xfrm>
            <a:off x="764146" y="2597577"/>
            <a:ext cx="8340969" cy="614281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85899"/>
            </a:solidFill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77916" tIns="38958" rIns="77916" bIns="38958" anchor="ctr"/>
          <a:lstStyle/>
          <a:p>
            <a:pPr algn="ctr" defTabSz="914296">
              <a:defRPr/>
            </a:pPr>
            <a:endParaRPr lang="pt-BR" sz="1200" dirty="0">
              <a:solidFill>
                <a:srgbClr val="085899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CaixaDeTexto 12"/>
          <p:cNvSpPr txBox="1">
            <a:spLocks noChangeArrowheads="1"/>
          </p:cNvSpPr>
          <p:nvPr/>
        </p:nvSpPr>
        <p:spPr bwMode="auto">
          <a:xfrm>
            <a:off x="411847" y="2641543"/>
            <a:ext cx="1942141" cy="3464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7916" tIns="38958" rIns="77916" bIns="38958">
            <a:spAutoFit/>
          </a:bodyPr>
          <a:lstStyle>
            <a:lvl1pPr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defTabSz="914296"/>
            <a:r>
              <a:rPr lang="pt-BR" sz="1100" dirty="0">
                <a:solidFill>
                  <a:srgbClr val="0858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oderes Públicos</a:t>
            </a:r>
          </a:p>
          <a:p>
            <a:pPr defTabSz="914296"/>
            <a:endParaRPr lang="pt-BR" sz="1100" dirty="0">
              <a:solidFill>
                <a:srgbClr val="0858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defTabSz="914296"/>
            <a:endParaRPr lang="pt-BR" sz="1100" dirty="0">
              <a:solidFill>
                <a:srgbClr val="0858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defTabSz="914296"/>
            <a:endParaRPr lang="pt-BR" sz="1100" dirty="0">
              <a:solidFill>
                <a:srgbClr val="0858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51504" indent="-151504" defTabSz="914296">
              <a:buSzPct val="80000"/>
              <a:buFont typeface="Arial" pitchFamily="34" charset="0"/>
              <a:buChar char="•"/>
              <a:defRPr/>
            </a:pPr>
            <a:r>
              <a:rPr lang="pt-BR" sz="1100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Hospitais Públicos</a:t>
            </a:r>
          </a:p>
          <a:p>
            <a:pPr marL="151504" indent="-151504" defTabSz="914296">
              <a:buSzPct val="80000"/>
              <a:buFont typeface="Arial" pitchFamily="34" charset="0"/>
              <a:buChar char="•"/>
              <a:defRPr/>
            </a:pPr>
            <a:r>
              <a:rPr lang="pt-BR" sz="1100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Centros de Saúde</a:t>
            </a:r>
          </a:p>
          <a:p>
            <a:pPr marL="151504" indent="-151504" defTabSz="914296">
              <a:buSzPct val="80000"/>
              <a:buFont typeface="Arial" pitchFamily="34" charset="0"/>
              <a:buChar char="•"/>
              <a:defRPr/>
            </a:pPr>
            <a:r>
              <a:rPr lang="pt-BR" sz="1100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Polícia Militar e Civil</a:t>
            </a:r>
          </a:p>
          <a:p>
            <a:pPr marL="151504" indent="-151504" defTabSz="914296">
              <a:buSzPct val="80000"/>
              <a:buFont typeface="Arial" pitchFamily="34" charset="0"/>
              <a:buChar char="•"/>
              <a:defRPr/>
            </a:pPr>
            <a:r>
              <a:rPr lang="pt-BR" sz="1100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Fóruns</a:t>
            </a:r>
          </a:p>
          <a:p>
            <a:pPr marL="151504" indent="-151504" defTabSz="914296">
              <a:buSzPct val="80000"/>
              <a:buFont typeface="Arial" pitchFamily="34" charset="0"/>
              <a:buChar char="•"/>
              <a:defRPr/>
            </a:pPr>
            <a:r>
              <a:rPr lang="pt-BR" sz="1100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Corpo de Bombeiros</a:t>
            </a:r>
          </a:p>
          <a:p>
            <a:pPr marL="151504" indent="-151504" defTabSz="914296">
              <a:buSzPct val="80000"/>
              <a:buFont typeface="Arial" pitchFamily="34" charset="0"/>
              <a:buChar char="•"/>
              <a:defRPr/>
            </a:pPr>
            <a:r>
              <a:rPr lang="pt-BR" sz="1100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Delegacias</a:t>
            </a:r>
          </a:p>
          <a:p>
            <a:pPr marL="151504" indent="-151504" defTabSz="914296">
              <a:buSzPct val="80000"/>
              <a:buFont typeface="Arial" pitchFamily="34" charset="0"/>
              <a:buChar char="•"/>
              <a:defRPr/>
            </a:pPr>
            <a:r>
              <a:rPr lang="pt-BR" sz="1100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Universidades Públicas </a:t>
            </a:r>
          </a:p>
          <a:p>
            <a:pPr marL="151504" indent="-151504" defTabSz="914296">
              <a:buSzPct val="80000"/>
              <a:buFont typeface="Arial" pitchFamily="34" charset="0"/>
              <a:buChar char="•"/>
              <a:defRPr/>
            </a:pPr>
            <a:r>
              <a:rPr lang="pt-BR" sz="1100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Escolas Públicas</a:t>
            </a:r>
          </a:p>
          <a:p>
            <a:pPr marL="151504" indent="-151504" defTabSz="914296">
              <a:buSzPct val="80000"/>
              <a:buFont typeface="Arial" pitchFamily="34" charset="0"/>
              <a:buChar char="•"/>
              <a:defRPr/>
            </a:pPr>
            <a:r>
              <a:rPr lang="pt-BR" sz="1100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Entidades Filantrópicas</a:t>
            </a:r>
          </a:p>
          <a:p>
            <a:pPr marL="151504" indent="-151504" defTabSz="914296">
              <a:buSzPct val="80000"/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Prédios Públicos </a:t>
            </a:r>
          </a:p>
          <a:p>
            <a:pPr marL="151504" indent="-151504" defTabSz="914296">
              <a:buSzPct val="80000"/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Túneis e Semáforos</a:t>
            </a:r>
          </a:p>
          <a:p>
            <a:pPr marL="151504" indent="-151504" defTabSz="914296">
              <a:buSzPct val="80000"/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GEM – Gestão Energética   </a:t>
            </a:r>
          </a:p>
          <a:p>
            <a:pPr defTabSz="914296">
              <a:buSzPct val="80000"/>
              <a:defRPr/>
            </a:pPr>
            <a:r>
              <a:rPr lang="en-US" sz="1100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  Municipal</a:t>
            </a:r>
            <a:endParaRPr lang="pt-BR" sz="1100" dirty="0">
              <a:solidFill>
                <a:srgbClr val="0858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CaixaDeTexto 16"/>
          <p:cNvSpPr txBox="1">
            <a:spLocks noChangeArrowheads="1"/>
          </p:cNvSpPr>
          <p:nvPr/>
        </p:nvSpPr>
        <p:spPr bwMode="auto">
          <a:xfrm>
            <a:off x="2536547" y="2583211"/>
            <a:ext cx="2189913" cy="2110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7916" tIns="38958" rIns="77916" bIns="38958">
            <a:spAutoFit/>
          </a:bodyPr>
          <a:lstStyle>
            <a:lvl1pPr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defTabSz="914296"/>
            <a:r>
              <a:rPr lang="pt-BR" dirty="0">
                <a:solidFill>
                  <a:srgbClr val="0858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erviço Público, Indústria, Comércio&amp;Serviços e Residencial</a:t>
            </a:r>
          </a:p>
          <a:p>
            <a:pPr defTabSz="914296"/>
            <a:endParaRPr lang="pt-BR" dirty="0">
              <a:solidFill>
                <a:srgbClr val="0858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51504" indent="-151504" defTabSz="914296">
              <a:buSzPct val="80000"/>
              <a:buFont typeface="Arial" pitchFamily="34" charset="0"/>
              <a:buChar char="•"/>
              <a:defRPr/>
            </a:pPr>
            <a:r>
              <a:rPr lang="pt-BR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istemas de abastecimento de água</a:t>
            </a:r>
          </a:p>
          <a:p>
            <a:pPr marL="151504" indent="-151504" defTabSz="914296">
              <a:buSzPct val="80000"/>
              <a:buFont typeface="Arial" pitchFamily="34" charset="0"/>
              <a:buChar char="•"/>
              <a:defRPr/>
            </a:pPr>
            <a:r>
              <a:rPr lang="pt-BR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istemas de tratamento de esgoto</a:t>
            </a:r>
          </a:p>
          <a:p>
            <a:pPr marL="151504" indent="-151504" defTabSz="914296">
              <a:buSzPct val="80000"/>
              <a:buFont typeface="Arial" pitchFamily="34" charset="0"/>
              <a:buChar char="•"/>
              <a:defRPr/>
            </a:pPr>
            <a:r>
              <a:rPr lang="pt-BR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ndústrias</a:t>
            </a:r>
          </a:p>
          <a:p>
            <a:pPr marL="151504" indent="-151504" defTabSz="914296">
              <a:buSzPct val="80000"/>
              <a:buFont typeface="Arial" pitchFamily="34" charset="0"/>
              <a:buChar char="•"/>
              <a:defRPr/>
            </a:pPr>
            <a:r>
              <a:rPr lang="pt-BR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mércio&amp;Serviços</a:t>
            </a:r>
          </a:p>
          <a:p>
            <a:pPr marL="151504" indent="-151504" defTabSz="914296">
              <a:buSzPct val="80000"/>
              <a:buFont typeface="Arial" pitchFamily="34" charset="0"/>
              <a:buChar char="•"/>
              <a:defRPr/>
            </a:pPr>
            <a:r>
              <a:rPr lang="pt-BR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lientes Residenciais</a:t>
            </a:r>
            <a:endParaRPr lang="pt-BR" dirty="0">
              <a:solidFill>
                <a:srgbClr val="0858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8" name="CaixaDeTexto 17"/>
          <p:cNvSpPr txBox="1">
            <a:spLocks noChangeArrowheads="1"/>
          </p:cNvSpPr>
          <p:nvPr/>
        </p:nvSpPr>
        <p:spPr bwMode="auto">
          <a:xfrm>
            <a:off x="4740549" y="2611164"/>
            <a:ext cx="1936731" cy="2140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7916" tIns="38958" rIns="77916" bIns="38958">
            <a:spAutoFit/>
          </a:bodyPr>
          <a:lstStyle>
            <a:lvl1pPr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defTabSz="914296"/>
            <a:r>
              <a:rPr lang="pt-BR" sz="1300" dirty="0">
                <a:solidFill>
                  <a:srgbClr val="0858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jetos </a:t>
            </a:r>
          </a:p>
          <a:p>
            <a:pPr defTabSz="914296"/>
            <a:r>
              <a:rPr lang="pt-BR" sz="1300" dirty="0">
                <a:solidFill>
                  <a:srgbClr val="0858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ducacionais</a:t>
            </a:r>
          </a:p>
          <a:p>
            <a:pPr marL="155562" indent="-155562" defTabSz="914296">
              <a:buFont typeface="Arial" pitchFamily="34" charset="0"/>
              <a:buChar char="•"/>
            </a:pPr>
            <a:endParaRPr lang="pt-BR" dirty="0">
              <a:solidFill>
                <a:srgbClr val="0858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defTabSz="914296"/>
            <a:endParaRPr lang="pt-BR" dirty="0">
              <a:solidFill>
                <a:srgbClr val="0858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55562" indent="-155562" defTabSz="914296">
              <a:buSzPct val="80000"/>
              <a:buFont typeface="Arial" pitchFamily="34" charset="0"/>
              <a:buChar char="•"/>
              <a:defRPr/>
            </a:pPr>
            <a:r>
              <a:rPr lang="pt-BR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PFL nas Escolas</a:t>
            </a:r>
          </a:p>
          <a:p>
            <a:pPr marL="155562" indent="-155562" defTabSz="914296">
              <a:buSzPct val="80000"/>
              <a:buFont typeface="Arial" pitchFamily="34" charset="0"/>
              <a:buChar char="•"/>
              <a:defRPr/>
            </a:pPr>
            <a:r>
              <a:rPr lang="en-US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aravana RGE</a:t>
            </a:r>
          </a:p>
          <a:p>
            <a:pPr marL="155562" indent="-155562" defTabSz="914296">
              <a:buSzPct val="80000"/>
              <a:buFont typeface="Arial" pitchFamily="34" charset="0"/>
              <a:buChar char="•"/>
              <a:defRPr/>
            </a:pPr>
            <a:r>
              <a:rPr lang="en-US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ab Tech CPFL</a:t>
            </a:r>
          </a:p>
          <a:p>
            <a:pPr marL="155562" indent="-155562" defTabSz="914296">
              <a:buSzPct val="80000"/>
              <a:buFont typeface="Arial" pitchFamily="34" charset="0"/>
              <a:buChar char="•"/>
              <a:defRPr/>
            </a:pPr>
            <a:r>
              <a:rPr lang="en-US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jeto Aprendiz de EE</a:t>
            </a:r>
          </a:p>
          <a:p>
            <a:pPr marL="155562" indent="-155562" defTabSz="914296">
              <a:buSzPct val="80000"/>
              <a:buFont typeface="Arial" pitchFamily="34" charset="0"/>
              <a:buChar char="•"/>
              <a:defRPr/>
            </a:pPr>
            <a:r>
              <a:rPr lang="en-US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EE Industrial/Estadual</a:t>
            </a:r>
            <a:endParaRPr lang="pt-BR" dirty="0">
              <a:solidFill>
                <a:srgbClr val="1F497D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9" name="Imagem 20" descr="agua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775"/>
          <a:stretch>
            <a:fillRect/>
          </a:stretch>
        </p:blipFill>
        <p:spPr bwMode="auto">
          <a:xfrm>
            <a:off x="7180063" y="1277157"/>
            <a:ext cx="2053004" cy="126087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CaixaDeTexto 19"/>
          <p:cNvSpPr txBox="1">
            <a:spLocks noChangeArrowheads="1"/>
          </p:cNvSpPr>
          <p:nvPr/>
        </p:nvSpPr>
        <p:spPr bwMode="auto">
          <a:xfrm>
            <a:off x="6607015" y="2641542"/>
            <a:ext cx="2499460" cy="2642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7916" tIns="38958" rIns="77916" bIns="38958">
            <a:spAutoFit/>
          </a:bodyPr>
          <a:lstStyle>
            <a:lvl1pPr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lnSpc>
                <a:spcPct val="14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rgbClr val="000066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defTabSz="914296"/>
            <a:r>
              <a:rPr lang="pt-BR" sz="1300" dirty="0">
                <a:solidFill>
                  <a:srgbClr val="0858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munidades Eficientes</a:t>
            </a:r>
          </a:p>
          <a:p>
            <a:pPr defTabSz="914296"/>
            <a:endParaRPr lang="pt-BR" dirty="0">
              <a:solidFill>
                <a:srgbClr val="0858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51504" indent="-151504" defTabSz="914296">
              <a:spcBef>
                <a:spcPct val="30000"/>
              </a:spcBef>
              <a:spcAft>
                <a:spcPct val="40000"/>
              </a:spcAft>
              <a:buSzPct val="80000"/>
              <a:buFont typeface="Arial" pitchFamily="34" charset="0"/>
              <a:buChar char="•"/>
              <a:defRPr/>
            </a:pPr>
            <a:endParaRPr lang="pt-BR" dirty="0">
              <a:solidFill>
                <a:srgbClr val="1F497D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51504" indent="-151504" defTabSz="914296">
              <a:spcBef>
                <a:spcPct val="30000"/>
              </a:spcBef>
              <a:spcAft>
                <a:spcPct val="40000"/>
              </a:spcAft>
              <a:buSzPct val="80000"/>
              <a:buFont typeface="Arial" pitchFamily="34" charset="0"/>
              <a:buChar char="•"/>
              <a:defRPr/>
            </a:pPr>
            <a:r>
              <a:rPr lang="pt-BR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gentes Comunitários</a:t>
            </a:r>
          </a:p>
          <a:p>
            <a:pPr marL="151504" indent="-151504" defTabSz="914296">
              <a:spcBef>
                <a:spcPct val="30000"/>
              </a:spcBef>
              <a:spcAft>
                <a:spcPct val="40000"/>
              </a:spcAft>
              <a:buSzPct val="80000"/>
              <a:buFont typeface="Arial" pitchFamily="34" charset="0"/>
              <a:buChar char="•"/>
              <a:defRPr/>
            </a:pPr>
            <a:r>
              <a:rPr lang="pt-BR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ubstituição de Lâmpadas</a:t>
            </a:r>
          </a:p>
          <a:p>
            <a:pPr marL="151504" indent="-151504" defTabSz="914296">
              <a:spcBef>
                <a:spcPct val="30000"/>
              </a:spcBef>
              <a:spcAft>
                <a:spcPct val="40000"/>
              </a:spcAft>
              <a:buSzPct val="80000"/>
              <a:buFont typeface="Arial" pitchFamily="34" charset="0"/>
              <a:buChar char="•"/>
              <a:defRPr/>
            </a:pPr>
            <a:r>
              <a:rPr lang="pt-BR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ficientização de Chuveiros</a:t>
            </a:r>
          </a:p>
          <a:p>
            <a:pPr marL="151504" indent="-151504" defTabSz="914296">
              <a:spcBef>
                <a:spcPct val="30000"/>
              </a:spcBef>
              <a:spcAft>
                <a:spcPct val="40000"/>
              </a:spcAft>
              <a:buSzPct val="80000"/>
              <a:buFont typeface="Arial" pitchFamily="34" charset="0"/>
              <a:buChar char="•"/>
              <a:defRPr/>
            </a:pPr>
            <a:r>
              <a:rPr lang="pt-BR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ubstituição de Geladeiras</a:t>
            </a:r>
          </a:p>
          <a:p>
            <a:pPr marL="151504" indent="-151504" defTabSz="914296">
              <a:spcBef>
                <a:spcPct val="30000"/>
              </a:spcBef>
              <a:spcAft>
                <a:spcPct val="40000"/>
              </a:spcAft>
              <a:buSzPct val="80000"/>
              <a:buFont typeface="Arial" pitchFamily="34" charset="0"/>
              <a:buChar char="•"/>
              <a:defRPr/>
            </a:pPr>
            <a:r>
              <a:rPr lang="pt-BR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gularização de Instalações</a:t>
            </a:r>
            <a:br>
              <a:rPr lang="pt-BR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pt-BR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létricas</a:t>
            </a:r>
          </a:p>
        </p:txBody>
      </p:sp>
    </p:spTree>
    <p:extLst>
      <p:ext uri="{BB962C8B-B14F-4D97-AF65-F5344CB8AC3E}">
        <p14:creationId xmlns:p14="http://schemas.microsoft.com/office/powerpoint/2010/main" val="413326219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  <p:bldP spid="17" grpId="0"/>
      <p:bldP spid="18" grpId="0"/>
      <p:bldP spid="2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0991" y="1462275"/>
            <a:ext cx="6778625" cy="4991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870" name="Text Box 6"/>
          <p:cNvSpPr txBox="1">
            <a:spLocks noChangeArrowheads="1"/>
          </p:cNvSpPr>
          <p:nvPr/>
        </p:nvSpPr>
        <p:spPr bwMode="auto">
          <a:xfrm>
            <a:off x="234975" y="317568"/>
            <a:ext cx="68072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>
              <a:lnSpc>
                <a:spcPct val="90000"/>
              </a:lnSpc>
            </a:pPr>
            <a:r>
              <a:rPr lang="pt-BR" altLang="pt-BR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erta Interna de Energia Elétrica</a:t>
            </a:r>
          </a:p>
        </p:txBody>
      </p:sp>
      <p:sp>
        <p:nvSpPr>
          <p:cNvPr id="36871" name="Oval 7"/>
          <p:cNvSpPr>
            <a:spLocks noChangeArrowheads="1"/>
          </p:cNvSpPr>
          <p:nvPr/>
        </p:nvSpPr>
        <p:spPr bwMode="auto">
          <a:xfrm>
            <a:off x="4791700" y="2700650"/>
            <a:ext cx="1081087" cy="647700"/>
          </a:xfrm>
          <a:prstGeom prst="ellipse">
            <a:avLst/>
          </a:prstGeom>
          <a:noFill/>
          <a:ln w="28575">
            <a:solidFill>
              <a:srgbClr val="FF33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2897552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tângulo 6"/>
          <p:cNvSpPr/>
          <p:nvPr/>
        </p:nvSpPr>
        <p:spPr>
          <a:xfrm>
            <a:off x="960825" y="1166269"/>
            <a:ext cx="7992887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296"/>
            <a:endParaRPr lang="en-US" altLang="zh-CN" dirty="0">
              <a:solidFill>
                <a:srgbClr val="1F497D"/>
              </a:solidFill>
            </a:endParaRPr>
          </a:p>
          <a:p>
            <a:pPr marL="92065" indent="-92065" algn="ctr" defTabSz="914296"/>
            <a:r>
              <a:rPr lang="en-US" altLang="zh-CN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              </a:t>
            </a:r>
            <a:r>
              <a:rPr lang="en-US" altLang="zh-CN" sz="2400" dirty="0" err="1" smtClean="0">
                <a:solidFill>
                  <a:srgbClr val="004853"/>
                </a:solidFill>
              </a:rPr>
              <a:t>Tipologias</a:t>
            </a:r>
            <a:r>
              <a:rPr lang="en-US" altLang="zh-CN" sz="2400" dirty="0" smtClean="0">
                <a:solidFill>
                  <a:srgbClr val="004853"/>
                </a:solidFill>
              </a:rPr>
              <a:t> </a:t>
            </a:r>
            <a:r>
              <a:rPr lang="en-US" altLang="zh-CN" sz="2400" dirty="0">
                <a:solidFill>
                  <a:srgbClr val="004853"/>
                </a:solidFill>
              </a:rPr>
              <a:t>de Projetos – Residencial e Rural – Baixa Renda</a:t>
            </a:r>
          </a:p>
        </p:txBody>
      </p:sp>
      <p:sp>
        <p:nvSpPr>
          <p:cNvPr id="8" name="TextBox 1"/>
          <p:cNvSpPr txBox="1"/>
          <p:nvPr/>
        </p:nvSpPr>
        <p:spPr>
          <a:xfrm>
            <a:off x="1184860" y="2111650"/>
            <a:ext cx="7561470" cy="4382050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marL="92065" indent="-92065" defTabSz="914296"/>
            <a:endParaRPr lang="en-US" altLang="zh-CN" sz="1400" dirty="0">
              <a:solidFill>
                <a:srgbClr val="1F497D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rgbClr val="004853"/>
                </a:solidFill>
              </a:rPr>
              <a:t>Sistemas de Iluminação - LED</a:t>
            </a: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endParaRPr lang="en-US" altLang="zh-CN" sz="1600" dirty="0">
              <a:solidFill>
                <a:srgbClr val="004853"/>
              </a:solidFill>
            </a:endParaRP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r>
              <a:rPr lang="pt-BR" altLang="zh-CN" sz="1600" dirty="0">
                <a:solidFill>
                  <a:srgbClr val="004853"/>
                </a:solidFill>
              </a:rPr>
              <a:t>Geladeiras</a:t>
            </a:r>
            <a:endParaRPr lang="en-US" altLang="zh-CN" sz="1600" dirty="0">
              <a:solidFill>
                <a:srgbClr val="004853"/>
              </a:solidFill>
            </a:endParaRP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endParaRPr lang="en-US" altLang="zh-CN" sz="1600" dirty="0">
              <a:solidFill>
                <a:srgbClr val="004853"/>
              </a:solidFill>
            </a:endParaRP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rgbClr val="004853"/>
                </a:solidFill>
              </a:rPr>
              <a:t>Aquecedor Solar</a:t>
            </a: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endParaRPr lang="en-US" altLang="zh-CN" sz="1600" dirty="0">
              <a:solidFill>
                <a:srgbClr val="004853"/>
              </a:solidFill>
            </a:endParaRP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rgbClr val="004853"/>
                </a:solidFill>
              </a:rPr>
              <a:t>Recuperador de Calor</a:t>
            </a: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endParaRPr lang="en-US" altLang="zh-CN" sz="1600" dirty="0">
              <a:solidFill>
                <a:srgbClr val="004853"/>
              </a:solidFill>
            </a:endParaRP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rgbClr val="004853"/>
                </a:solidFill>
              </a:rPr>
              <a:t>PV</a:t>
            </a: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endParaRPr lang="en-US" altLang="zh-CN" sz="1600" dirty="0">
              <a:solidFill>
                <a:srgbClr val="004853"/>
              </a:solidFill>
            </a:endParaRP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rgbClr val="004853"/>
                </a:solidFill>
              </a:rPr>
              <a:t>Regularização de Clandestinos</a:t>
            </a: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endParaRPr lang="en-US" altLang="zh-CN" sz="1600" dirty="0">
              <a:solidFill>
                <a:srgbClr val="004853"/>
              </a:solidFill>
            </a:endParaRP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r>
              <a:rPr lang="en-US" altLang="zh-CN" sz="1600" dirty="0">
                <a:solidFill>
                  <a:srgbClr val="004853"/>
                </a:solidFill>
              </a:rPr>
              <a:t>Agentes Comunitários</a:t>
            </a: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endParaRPr lang="en-US" altLang="zh-CN" sz="1600" dirty="0">
              <a:solidFill>
                <a:srgbClr val="004853"/>
              </a:solidFill>
            </a:endParaRPr>
          </a:p>
          <a:p>
            <a:pPr algn="l" defTabSz="914296"/>
            <a:r>
              <a:rPr lang="en-US" altLang="zh-CN" sz="1600" dirty="0">
                <a:solidFill>
                  <a:srgbClr val="004853"/>
                </a:solidFill>
              </a:rPr>
              <a:t>Nota: investimentos conforme RCB ponderado – critérios ANEEL</a:t>
            </a:r>
          </a:p>
          <a:p>
            <a:pPr marL="171450" indent="-171450" defTabSz="914296">
              <a:buFont typeface="Arial" panose="020B0604020202020204" pitchFamily="34" charset="0"/>
              <a:buChar char="•"/>
            </a:pPr>
            <a:endParaRPr lang="en-US" altLang="zh-CN" sz="1400" dirty="0">
              <a:solidFill>
                <a:srgbClr val="1F497D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92065" indent="-92065" defTabSz="914296"/>
            <a:endParaRPr lang="en-US" altLang="zh-CN" sz="1400" dirty="0">
              <a:solidFill>
                <a:srgbClr val="1F497D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Usos Finai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07171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tângulo 6"/>
          <p:cNvSpPr/>
          <p:nvPr/>
        </p:nvSpPr>
        <p:spPr>
          <a:xfrm>
            <a:off x="960825" y="1166269"/>
            <a:ext cx="7992887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296"/>
            <a:endParaRPr lang="en-US" altLang="zh-CN" dirty="0">
              <a:solidFill>
                <a:srgbClr val="1F497D"/>
              </a:solidFill>
            </a:endParaRPr>
          </a:p>
          <a:p>
            <a:pPr marL="92065" indent="-92065" algn="ctr" defTabSz="914296"/>
            <a:r>
              <a:rPr lang="en-US" altLang="zh-CN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              </a:t>
            </a:r>
            <a:r>
              <a:rPr lang="en-US" altLang="zh-CN" sz="2400" dirty="0" err="1" smtClean="0">
                <a:solidFill>
                  <a:srgbClr val="004853"/>
                </a:solidFill>
              </a:rPr>
              <a:t>Tipologias</a:t>
            </a:r>
            <a:r>
              <a:rPr lang="en-US" altLang="zh-CN" sz="2400" dirty="0" smtClean="0">
                <a:solidFill>
                  <a:srgbClr val="004853"/>
                </a:solidFill>
              </a:rPr>
              <a:t> </a:t>
            </a:r>
            <a:r>
              <a:rPr lang="en-US" altLang="zh-CN" sz="2400" dirty="0">
                <a:solidFill>
                  <a:srgbClr val="004853"/>
                </a:solidFill>
              </a:rPr>
              <a:t>de Projetos – </a:t>
            </a:r>
            <a:r>
              <a:rPr lang="pt-BR" altLang="zh-CN" sz="2400" dirty="0">
                <a:solidFill>
                  <a:srgbClr val="004853"/>
                </a:solidFill>
              </a:rPr>
              <a:t>Duas Maiores Classes: Industrial e Residencial</a:t>
            </a:r>
            <a:endParaRPr lang="en-US" altLang="zh-CN" sz="2400" dirty="0">
              <a:solidFill>
                <a:srgbClr val="004853"/>
              </a:solidFill>
            </a:endParaRPr>
          </a:p>
        </p:txBody>
      </p:sp>
      <p:sp>
        <p:nvSpPr>
          <p:cNvPr id="8" name="TextBox 1"/>
          <p:cNvSpPr txBox="1"/>
          <p:nvPr/>
        </p:nvSpPr>
        <p:spPr>
          <a:xfrm>
            <a:off x="1184860" y="2411010"/>
            <a:ext cx="7561470" cy="3397165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marL="92065" indent="-92065" defTabSz="914296"/>
            <a:endParaRPr lang="en-US" altLang="zh-CN" sz="1400" dirty="0">
              <a:solidFill>
                <a:srgbClr val="1F497D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r>
              <a:rPr lang="pt-BR" altLang="zh-CN" sz="1600" dirty="0">
                <a:solidFill>
                  <a:srgbClr val="004853"/>
                </a:solidFill>
              </a:rPr>
              <a:t>Bônus para Compra de Eletrodomésticos Eficientes</a:t>
            </a: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endParaRPr lang="pt-BR" altLang="zh-CN" sz="1600" dirty="0">
              <a:solidFill>
                <a:srgbClr val="004853"/>
              </a:solidFill>
            </a:endParaRP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r>
              <a:rPr lang="pt-BR" altLang="zh-CN" sz="1600" dirty="0">
                <a:solidFill>
                  <a:srgbClr val="004853"/>
                </a:solidFill>
              </a:rPr>
              <a:t>Condomínios horizontais e verticais</a:t>
            </a: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endParaRPr lang="pt-BR" altLang="zh-CN" sz="1600" dirty="0">
              <a:solidFill>
                <a:srgbClr val="004853"/>
              </a:solidFill>
            </a:endParaRP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r>
              <a:rPr lang="pt-BR" altLang="zh-CN" sz="1600" dirty="0">
                <a:solidFill>
                  <a:srgbClr val="004853"/>
                </a:solidFill>
              </a:rPr>
              <a:t>Sistemas Energéticos Industriais: iluminação, ar comprimido, caldeiras, motores, refrigeração, PV, </a:t>
            </a:r>
            <a:r>
              <a:rPr lang="pt-BR" altLang="zh-CN" sz="1600" dirty="0" err="1">
                <a:solidFill>
                  <a:srgbClr val="004853"/>
                </a:solidFill>
              </a:rPr>
              <a:t>etc</a:t>
            </a:r>
            <a:r>
              <a:rPr lang="pt-BR" altLang="zh-CN" sz="1600" dirty="0">
                <a:solidFill>
                  <a:srgbClr val="004853"/>
                </a:solidFill>
              </a:rPr>
              <a:t> (contratos de performance)</a:t>
            </a: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endParaRPr lang="pt-BR" altLang="zh-CN" sz="1600" dirty="0">
              <a:solidFill>
                <a:srgbClr val="004853"/>
              </a:solidFill>
            </a:endParaRP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r>
              <a:rPr lang="pt-BR" altLang="zh-CN" sz="1600" dirty="0">
                <a:solidFill>
                  <a:srgbClr val="004853"/>
                </a:solidFill>
              </a:rPr>
              <a:t>PV</a:t>
            </a: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endParaRPr lang="pt-BR" altLang="zh-CN" sz="1600" dirty="0">
              <a:solidFill>
                <a:srgbClr val="004853"/>
              </a:solidFill>
            </a:endParaRPr>
          </a:p>
          <a:p>
            <a:pPr marL="171450" indent="-171450" algn="l" defTabSz="914296">
              <a:buFont typeface="Arial" panose="020B0604020202020204" pitchFamily="34" charset="0"/>
              <a:buChar char="•"/>
            </a:pPr>
            <a:r>
              <a:rPr lang="pt-BR" altLang="zh-CN" sz="1600" dirty="0">
                <a:solidFill>
                  <a:srgbClr val="004853"/>
                </a:solidFill>
              </a:rPr>
              <a:t>Automação e gerenciamento energético</a:t>
            </a:r>
          </a:p>
          <a:p>
            <a:pPr marL="171450" indent="-171450" defTabSz="914296">
              <a:buFont typeface="Arial" panose="020B0604020202020204" pitchFamily="34" charset="0"/>
              <a:buChar char="•"/>
            </a:pPr>
            <a:endParaRPr lang="en-US" altLang="zh-CN" sz="1400" dirty="0">
              <a:solidFill>
                <a:srgbClr val="1F497D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92065" indent="-92065" defTabSz="914296"/>
            <a:endParaRPr lang="en-US" altLang="zh-CN" sz="1400" dirty="0">
              <a:solidFill>
                <a:srgbClr val="1F497D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Usos Finai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194719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tângulo 6"/>
          <p:cNvSpPr/>
          <p:nvPr/>
        </p:nvSpPr>
        <p:spPr>
          <a:xfrm>
            <a:off x="355949" y="1166269"/>
            <a:ext cx="91941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296"/>
            <a:endParaRPr lang="en-US" altLang="zh-CN" dirty="0">
              <a:solidFill>
                <a:srgbClr val="1F497D"/>
              </a:solidFill>
            </a:endParaRPr>
          </a:p>
          <a:p>
            <a:pPr marL="92065" indent="-92065" algn="ctr" defTabSz="914296"/>
            <a:r>
              <a:rPr lang="en-US" altLang="zh-CN" dirty="0">
                <a:solidFill>
                  <a:srgbClr val="1F497D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              </a:t>
            </a:r>
            <a:r>
              <a:rPr lang="en-US" altLang="zh-CN" sz="2400" dirty="0" err="1" smtClean="0">
                <a:solidFill>
                  <a:srgbClr val="004853"/>
                </a:solidFill>
              </a:rPr>
              <a:t>Tipologias</a:t>
            </a:r>
            <a:r>
              <a:rPr lang="en-US" altLang="zh-CN" sz="2400" dirty="0" smtClean="0">
                <a:solidFill>
                  <a:srgbClr val="004853"/>
                </a:solidFill>
              </a:rPr>
              <a:t> </a:t>
            </a:r>
            <a:r>
              <a:rPr lang="en-US" altLang="zh-CN" sz="2400" dirty="0">
                <a:solidFill>
                  <a:srgbClr val="004853"/>
                </a:solidFill>
              </a:rPr>
              <a:t>de Projetos – </a:t>
            </a:r>
            <a:r>
              <a:rPr lang="pt-BR" altLang="zh-CN" sz="1400" dirty="0">
                <a:solidFill>
                  <a:srgbClr val="004853"/>
                </a:solidFill>
              </a:rPr>
              <a:t>Poder Público, Hospitais, Comercial, Educacional, IP</a:t>
            </a:r>
            <a:r>
              <a:rPr lang="pt-BR" altLang="zh-CN" sz="1400" dirty="0" smtClean="0">
                <a:solidFill>
                  <a:srgbClr val="004853"/>
                </a:solidFill>
              </a:rPr>
              <a:t>, Serviços </a:t>
            </a:r>
            <a:r>
              <a:rPr lang="pt-BR" altLang="zh-CN" sz="1400" dirty="0">
                <a:solidFill>
                  <a:srgbClr val="004853"/>
                </a:solidFill>
              </a:rPr>
              <a:t>Públicos, Rural, MKT, Plano de Gestão e projetos pilotos</a:t>
            </a:r>
          </a:p>
        </p:txBody>
      </p:sp>
      <p:sp>
        <p:nvSpPr>
          <p:cNvPr id="8" name="TextBox 1"/>
          <p:cNvSpPr txBox="1"/>
          <p:nvPr/>
        </p:nvSpPr>
        <p:spPr>
          <a:xfrm>
            <a:off x="718875" y="2516031"/>
            <a:ext cx="8468250" cy="373571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marL="171450" indent="-171450" algn="l" defTabSz="91429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altLang="zh-CN" sz="1600" dirty="0" smtClean="0">
                <a:solidFill>
                  <a:srgbClr val="004853"/>
                </a:solidFill>
              </a:rPr>
              <a:t>Sistemas </a:t>
            </a:r>
            <a:r>
              <a:rPr lang="pt-BR" altLang="zh-CN" sz="1600" dirty="0">
                <a:solidFill>
                  <a:srgbClr val="004853"/>
                </a:solidFill>
              </a:rPr>
              <a:t>de Iluminação - LED</a:t>
            </a:r>
          </a:p>
          <a:p>
            <a:pPr marL="171450" indent="-171450" algn="l" defTabSz="91429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altLang="zh-CN" sz="1600" dirty="0">
                <a:solidFill>
                  <a:srgbClr val="004853"/>
                </a:solidFill>
              </a:rPr>
              <a:t>Sistemas de Refrigeração e Condicionamento Ambiental</a:t>
            </a:r>
          </a:p>
          <a:p>
            <a:pPr marL="171450" indent="-171450" algn="l" defTabSz="91429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altLang="zh-CN" sz="1600" dirty="0">
                <a:solidFill>
                  <a:srgbClr val="004853"/>
                </a:solidFill>
              </a:rPr>
              <a:t>Marketing, divulgação, comunicação e publicidade</a:t>
            </a:r>
          </a:p>
          <a:p>
            <a:pPr marL="171450" indent="-171450" algn="l" defTabSz="91429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altLang="zh-CN" sz="1600" dirty="0">
                <a:solidFill>
                  <a:srgbClr val="004853"/>
                </a:solidFill>
              </a:rPr>
              <a:t>Sistemas de motorização e ar comprimido</a:t>
            </a:r>
          </a:p>
          <a:p>
            <a:pPr marL="171450" indent="-171450" algn="l" defTabSz="91429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altLang="zh-CN" sz="1600" dirty="0">
                <a:solidFill>
                  <a:srgbClr val="004853"/>
                </a:solidFill>
              </a:rPr>
              <a:t>Formação de alunos e professores em uso inteligente de energia e eficiência energética</a:t>
            </a:r>
          </a:p>
          <a:p>
            <a:pPr marL="171450" indent="-171450" algn="l" defTabSz="91429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altLang="zh-CN" sz="1600" dirty="0">
                <a:solidFill>
                  <a:srgbClr val="004853"/>
                </a:solidFill>
              </a:rPr>
              <a:t>PV</a:t>
            </a:r>
          </a:p>
          <a:p>
            <a:pPr marL="171450" indent="-171450" algn="l" defTabSz="91429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altLang="zh-CN" sz="1600" dirty="0">
                <a:solidFill>
                  <a:srgbClr val="004853"/>
                </a:solidFill>
              </a:rPr>
              <a:t>Sistemas de gestão, informática, custos com pessoal, despesas diversas, capacitação e treinamentos, congressos, </a:t>
            </a:r>
            <a:r>
              <a:rPr lang="pt-BR" altLang="zh-CN" sz="1600" dirty="0" err="1">
                <a:solidFill>
                  <a:srgbClr val="004853"/>
                </a:solidFill>
              </a:rPr>
              <a:t>etc</a:t>
            </a:r>
            <a:endParaRPr lang="pt-BR" altLang="zh-CN" sz="1600" dirty="0">
              <a:solidFill>
                <a:srgbClr val="004853"/>
              </a:solidFill>
            </a:endParaRPr>
          </a:p>
          <a:p>
            <a:pPr marL="171450" indent="-171450" algn="l" defTabSz="914296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altLang="zh-CN" sz="1600" dirty="0">
                <a:solidFill>
                  <a:srgbClr val="004853"/>
                </a:solidFill>
              </a:rPr>
              <a:t>Automação e gerenciamento </a:t>
            </a:r>
            <a:r>
              <a:rPr lang="pt-BR" altLang="zh-CN" sz="1600" dirty="0" smtClean="0">
                <a:solidFill>
                  <a:srgbClr val="004853"/>
                </a:solidFill>
              </a:rPr>
              <a:t>energético</a:t>
            </a:r>
            <a:endParaRPr lang="en-US" altLang="zh-CN" sz="1400" dirty="0">
              <a:solidFill>
                <a:srgbClr val="1F497D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Usos Finai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0437743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dicadores – CPFL Energia – </a:t>
            </a:r>
            <a:r>
              <a:rPr lang="pt-BR" dirty="0" smtClean="0"/>
              <a:t>Dezembro/2017</a:t>
            </a:r>
            <a:endParaRPr lang="pt-BR" dirty="0"/>
          </a:p>
        </p:txBody>
      </p:sp>
      <p:pic>
        <p:nvPicPr>
          <p:cNvPr id="15" name="Picture 6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625" y="2534318"/>
            <a:ext cx="9274175" cy="1862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9995664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Realização Física – </a:t>
            </a:r>
            <a:r>
              <a:rPr lang="pt-BR" dirty="0" smtClean="0"/>
              <a:t>Dezembro/2017</a:t>
            </a:r>
            <a:endParaRPr lang="pt-BR" dirty="0"/>
          </a:p>
        </p:txBody>
      </p:sp>
      <p:pic>
        <p:nvPicPr>
          <p:cNvPr id="4" name="Picture 6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625" y="1574050"/>
            <a:ext cx="9274175" cy="439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8427925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538164" y="2335214"/>
            <a:ext cx="8815387" cy="966787"/>
          </a:xfrm>
          <a:prstGeom prst="rect">
            <a:avLst/>
          </a:prstGeom>
        </p:spPr>
        <p:txBody>
          <a:bodyPr>
            <a:norm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>
              <a:defRPr/>
            </a:pPr>
            <a:r>
              <a:rPr lang="pt-BR" sz="36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Principais Projetos Implementados</a:t>
            </a:r>
            <a:endParaRPr lang="en-US" sz="3600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763684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995363" y="1085850"/>
            <a:ext cx="6572250" cy="966788"/>
          </a:xfrm>
          <a:prstGeom prst="rect">
            <a:avLst/>
          </a:prstGeom>
        </p:spPr>
        <p:txBody>
          <a:bodyPr>
            <a:norm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 dirty="0">
              <a:solidFill>
                <a:srgbClr val="2E827E"/>
              </a:solidFill>
              <a:latin typeface="Verdana" charset="0"/>
              <a:cs typeface="Verdana" charset="0"/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538164" y="2431930"/>
            <a:ext cx="8815387" cy="3005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just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O Centro de Tecnologia da Informação Renato Archer é uma unidade de pesquisa do Ministério da Ciência, Tecnologia e Inovação (MCTI).</a:t>
            </a:r>
          </a:p>
          <a:p>
            <a:pPr marL="0" indent="0" algn="just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Possui como focos de atuação a microeletrônica, displays, softwares e aplicações de TI, como robótica, softwares de suporte à decisão e tecnologias 3D</a:t>
            </a:r>
            <a:r>
              <a:rPr lang="en-US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.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>
          <a:xfrm>
            <a:off x="538164" y="1207794"/>
            <a:ext cx="8815387" cy="966787"/>
          </a:xfrm>
          <a:prstGeom prst="rect">
            <a:avLst/>
          </a:prstGeom>
        </p:spPr>
        <p:txBody>
          <a:bodyPr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>
              <a:defRPr/>
            </a:pPr>
            <a:r>
              <a:rPr lang="pt-BR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Eficiência Energética em Sistema de Climatização no Centro de Tecnologia da Informação Renato Archer em Campinas</a:t>
            </a:r>
            <a:endParaRPr lang="en-US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2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1527" y="4772213"/>
            <a:ext cx="4256087" cy="168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230738971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612999" y="1711395"/>
            <a:ext cx="8660482" cy="3041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-28575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sz="1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Substituição de 2 </a:t>
            </a:r>
            <a:r>
              <a:rPr lang="pt-BR" sz="18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Chillers</a:t>
            </a:r>
            <a:r>
              <a:rPr lang="pt-BR" sz="1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 de 120 TR com condensação a água por 2 novos de mesma capacidade nominal com condensação a ar;</a:t>
            </a:r>
          </a:p>
          <a:p>
            <a:pPr marL="0" indent="-28575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sz="1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Eliminação de duas torres de resfriamento;</a:t>
            </a:r>
          </a:p>
          <a:p>
            <a:pPr marL="0" indent="-28575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sz="1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Instalação de 10 inversores de frequência para os </a:t>
            </a:r>
            <a:r>
              <a:rPr lang="pt-BR" sz="18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Fancoils</a:t>
            </a:r>
            <a:r>
              <a:rPr lang="pt-BR" sz="1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;</a:t>
            </a:r>
          </a:p>
          <a:p>
            <a:pPr marL="0" indent="-28575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sz="1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Substituição de 3 conjuntos moto-bombas;</a:t>
            </a:r>
          </a:p>
          <a:p>
            <a:pPr marL="0" indent="-28575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sz="1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Instalação de 1 tanque de gelo para suprir a carga de refrigeração na ponta.</a:t>
            </a:r>
          </a:p>
          <a:p>
            <a:pPr marL="0" indent="0" algn="l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612998" y="1135331"/>
            <a:ext cx="6572250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altLang="pt-BR" dirty="0">
                <a:solidFill>
                  <a:srgbClr val="004853"/>
                </a:solidFill>
                <a:latin typeface="+mn-lt"/>
                <a:ea typeface="+mn-ea"/>
              </a:rPr>
              <a:t>Dados do </a:t>
            </a:r>
            <a:r>
              <a:rPr lang="en-US" altLang="pt-BR" dirty="0" err="1">
                <a:solidFill>
                  <a:srgbClr val="004853"/>
                </a:solidFill>
                <a:latin typeface="+mn-lt"/>
                <a:ea typeface="+mn-ea"/>
              </a:rPr>
              <a:t>Projeto</a:t>
            </a:r>
            <a:endParaRPr lang="en-US" altLang="pt-BR" dirty="0">
              <a:solidFill>
                <a:srgbClr val="004853"/>
              </a:solidFill>
              <a:latin typeface="+mn-lt"/>
              <a:ea typeface="+mn-ea"/>
            </a:endParaRPr>
          </a:p>
        </p:txBody>
      </p:sp>
      <p:pic>
        <p:nvPicPr>
          <p:cNvPr id="11" name="Imagem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2352" y="4548604"/>
            <a:ext cx="2301876" cy="1726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Imagem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552" y="4531537"/>
            <a:ext cx="2347912" cy="176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m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068" y="4965324"/>
            <a:ext cx="3386138" cy="1309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24466291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166316" y="2157837"/>
            <a:ext cx="7531100" cy="300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-285750" algn="l" eaLnBrk="1" hangingPunct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Investimento de R$ 1.192.631,03;</a:t>
            </a:r>
          </a:p>
          <a:p>
            <a:pPr marL="0" indent="-285750" algn="l" eaLnBrk="1" hangingPunct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pt-BR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  <a:p>
            <a:pPr marL="0" indent="-285750" algn="l" eaLnBrk="1" hangingPunct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Energia economizada: 237 </a:t>
            </a:r>
            <a:r>
              <a:rPr lang="pt-BR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MWh</a:t>
            </a:r>
            <a:r>
              <a:rPr lang="pt-BR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/ano;</a:t>
            </a:r>
          </a:p>
          <a:p>
            <a:pPr marL="0" indent="-285750" algn="l" eaLnBrk="1" hangingPunct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pt-BR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  <a:p>
            <a:pPr marL="0" indent="-285750" algn="l" eaLnBrk="1" hangingPunct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Redução de demanda no horário de ponta: 440 kW;</a:t>
            </a:r>
          </a:p>
          <a:p>
            <a:pPr marL="0" indent="-285750" algn="l" eaLnBrk="1" hangingPunct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pt-BR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  <a:p>
            <a:pPr marL="0" indent="-285750" algn="l" eaLnBrk="1" hangingPunct="1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RCB: 0,7956.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1166316" y="1225976"/>
            <a:ext cx="6572250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altLang="pt-BR" sz="3200" dirty="0" err="1">
                <a:solidFill>
                  <a:srgbClr val="004853"/>
                </a:solidFill>
                <a:latin typeface="+mn-lt"/>
                <a:ea typeface="+mn-ea"/>
              </a:rPr>
              <a:t>Resultados</a:t>
            </a:r>
            <a:endParaRPr lang="en-US" altLang="pt-BR" sz="3200" dirty="0">
              <a:solidFill>
                <a:srgbClr val="004853"/>
              </a:solidFill>
              <a:latin typeface="+mn-lt"/>
              <a:ea typeface="+mn-ea"/>
            </a:endParaRPr>
          </a:p>
        </p:txBody>
      </p:sp>
      <p:sp>
        <p:nvSpPr>
          <p:cNvPr id="11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339054175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519114" y="1286014"/>
            <a:ext cx="8815387" cy="96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pt-BR" altLang="pt-BR" sz="3200" dirty="0">
                <a:solidFill>
                  <a:srgbClr val="004853"/>
                </a:solidFill>
                <a:latin typeface="+mn-lt"/>
                <a:ea typeface="+mn-ea"/>
              </a:rPr>
              <a:t>Eficiência Energética em Sistema de Iluminação de Túneis</a:t>
            </a:r>
          </a:p>
        </p:txBody>
      </p:sp>
      <p:sp>
        <p:nvSpPr>
          <p:cNvPr id="8" name="Título 1"/>
          <p:cNvSpPr txBox="1">
            <a:spLocks/>
          </p:cNvSpPr>
          <p:nvPr/>
        </p:nvSpPr>
        <p:spPr>
          <a:xfrm>
            <a:off x="652910" y="4638763"/>
            <a:ext cx="4156075" cy="744538"/>
          </a:xfrm>
          <a:prstGeom prst="rect">
            <a:avLst/>
          </a:prstGeom>
        </p:spPr>
        <p:txBody>
          <a:bodyPr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pitchFamily="68" charset="-128"/>
                <a:cs typeface="ＭＳ Ｐゴシック" pitchFamily="68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68" charset="0"/>
                <a:ea typeface="ＭＳ Ｐゴシック" pitchFamily="68" charset="-128"/>
                <a:cs typeface="ＭＳ Ｐゴシック" pitchFamily="68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68" charset="0"/>
                <a:ea typeface="ＭＳ Ｐゴシック" pitchFamily="68" charset="-128"/>
                <a:cs typeface="ＭＳ Ｐゴシック" pitchFamily="68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68" charset="0"/>
                <a:ea typeface="ＭＳ Ｐゴシック" pitchFamily="68" charset="-128"/>
                <a:cs typeface="ＭＳ Ｐゴシック" pitchFamily="68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68" charset="0"/>
                <a:ea typeface="ＭＳ Ｐゴシック" pitchFamily="68" charset="-128"/>
                <a:cs typeface="ＭＳ Ｐゴシック" pitchFamily="68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68" charset="0"/>
                <a:ea typeface="ＭＳ Ｐゴシック" pitchFamily="68" charset="-128"/>
                <a:cs typeface="ＭＳ Ｐゴシック" pitchFamily="68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68" charset="0"/>
                <a:ea typeface="ＭＳ Ｐゴシック" pitchFamily="68" charset="-128"/>
                <a:cs typeface="ＭＳ Ｐゴシック" pitchFamily="68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68" charset="0"/>
                <a:ea typeface="ＭＳ Ｐゴシック" pitchFamily="68" charset="-128"/>
                <a:cs typeface="ＭＳ Ｐゴシック" pitchFamily="68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68" charset="0"/>
                <a:ea typeface="ＭＳ Ｐゴシック" pitchFamily="68" charset="-128"/>
                <a:cs typeface="ＭＳ Ｐゴシック" pitchFamily="68" charset="-128"/>
              </a:defRPr>
            </a:lvl9pPr>
          </a:lstStyle>
          <a:p>
            <a:pPr defTabSz="914400" eaLnBrk="1" hangingPunct="1">
              <a:lnSpc>
                <a:spcPct val="150000"/>
              </a:lnSpc>
              <a:defRPr/>
            </a:pPr>
            <a:r>
              <a:rPr lang="pt-BR" sz="24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Complexo </a:t>
            </a:r>
            <a:r>
              <a:rPr lang="pt-BR" sz="24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Joá</a:t>
            </a:r>
            <a:r>
              <a:rPr lang="pt-BR" sz="24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 Penteado</a:t>
            </a:r>
            <a:br>
              <a:rPr lang="pt-BR" sz="24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</a:br>
            <a:r>
              <a:rPr lang="pt-BR" sz="24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Campinas – SP</a:t>
            </a:r>
          </a:p>
        </p:txBody>
      </p:sp>
      <p:pic>
        <p:nvPicPr>
          <p:cNvPr id="11" name="Imagem 10" descr="http://upload.wikimedia.org/wikipedia/commons/thumb/3/34/T%C3%BAneis_-_Vila_Industrial_-_Campinas.JPG/250px-T%C3%BAneis_-_Vila_Industrial_-_Campinas.JPG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17589" y="2732225"/>
            <a:ext cx="3502025" cy="1703388"/>
          </a:xfrm>
          <a:prstGeom prst="rect">
            <a:avLst/>
          </a:prstGeom>
          <a:noFill/>
          <a:ln w="50800">
            <a:solidFill>
              <a:schemeClr val="accent1">
                <a:lumMod val="75000"/>
              </a:schemeClr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" name="Imagem 11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408613" y="2732225"/>
            <a:ext cx="3503612" cy="1703388"/>
          </a:xfrm>
          <a:prstGeom prst="rect">
            <a:avLst/>
          </a:prstGeom>
          <a:noFill/>
          <a:ln w="50800">
            <a:solidFill>
              <a:schemeClr val="accent1">
                <a:lumMod val="75000"/>
              </a:schemeClr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3" name="Título 1"/>
          <p:cNvSpPr txBox="1">
            <a:spLocks/>
          </p:cNvSpPr>
          <p:nvPr/>
        </p:nvSpPr>
        <p:spPr>
          <a:xfrm>
            <a:off x="5169025" y="4821375"/>
            <a:ext cx="3969137" cy="825500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150000"/>
              </a:lnSpc>
              <a:spcAft>
                <a:spcPct val="0"/>
              </a:spcAft>
              <a:defRPr/>
            </a:pPr>
            <a:r>
              <a:rPr lang="pt-BR" sz="24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Túnel Rubens Ferreira Martins </a:t>
            </a:r>
            <a:br>
              <a:rPr lang="pt-BR" sz="24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</a:br>
            <a:r>
              <a:rPr lang="pt-BR" sz="24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Santos – SP</a:t>
            </a:r>
          </a:p>
        </p:txBody>
      </p:sp>
      <p:sp>
        <p:nvSpPr>
          <p:cNvPr id="14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202539737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9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878" y="1484487"/>
            <a:ext cx="7889875" cy="4767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493" name="Text Box 5"/>
          <p:cNvSpPr txBox="1">
            <a:spLocks noChangeArrowheads="1"/>
          </p:cNvSpPr>
          <p:nvPr/>
        </p:nvSpPr>
        <p:spPr bwMode="auto">
          <a:xfrm>
            <a:off x="5249866" y="6259387"/>
            <a:ext cx="3671887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</a:pPr>
            <a:r>
              <a:rPr lang="pt-BR" altLang="pt-BR" sz="1200" dirty="0">
                <a:cs typeface="Arial" pitchFamily="34" charset="0"/>
              </a:rPr>
              <a:t>Fonte: MME – PNE 2030</a:t>
            </a:r>
          </a:p>
        </p:txBody>
      </p:sp>
      <p:sp>
        <p:nvSpPr>
          <p:cNvPr id="10" name="Text Box 6"/>
          <p:cNvSpPr txBox="1">
            <a:spLocks noChangeArrowheads="1"/>
          </p:cNvSpPr>
          <p:nvPr/>
        </p:nvSpPr>
        <p:spPr bwMode="auto">
          <a:xfrm>
            <a:off x="234975" y="317568"/>
            <a:ext cx="68072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>
              <a:lnSpc>
                <a:spcPct val="90000"/>
              </a:lnSpc>
            </a:pPr>
            <a:r>
              <a:rPr lang="pt-BR" altLang="pt-BR" sz="2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trutura de Consumo de Eletricidade</a:t>
            </a:r>
          </a:p>
        </p:txBody>
      </p:sp>
    </p:spTree>
    <p:extLst>
      <p:ext uri="{BB962C8B-B14F-4D97-AF65-F5344CB8AC3E}">
        <p14:creationId xmlns:p14="http://schemas.microsoft.com/office/powerpoint/2010/main" val="193541436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11225" y="1946761"/>
            <a:ext cx="8032750" cy="1771650"/>
          </a:xfrm>
          <a:prstGeom prst="rect">
            <a:avLst/>
          </a:prstGeom>
          <a:noFill/>
          <a:ln w="25400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95439" y="4274037"/>
            <a:ext cx="2232025" cy="1871663"/>
          </a:xfrm>
          <a:prstGeom prst="rect">
            <a:avLst/>
          </a:prstGeom>
          <a:noFill/>
          <a:ln w="25400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7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762500" y="3806061"/>
            <a:ext cx="3270250" cy="2365039"/>
          </a:xfrm>
          <a:prstGeom prst="rect">
            <a:avLst/>
          </a:prstGeom>
          <a:noFill/>
          <a:ln w="25400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Retângulo 7"/>
          <p:cNvSpPr>
            <a:spLocks noChangeArrowheads="1"/>
          </p:cNvSpPr>
          <p:nvPr/>
        </p:nvSpPr>
        <p:spPr bwMode="auto">
          <a:xfrm>
            <a:off x="2128838" y="1513374"/>
            <a:ext cx="16557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pt-BR" alt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ea typeface="ＭＳ Ｐゴシック" charset="0"/>
                <a:cs typeface="Verdana" charset="0"/>
              </a:rPr>
              <a:t>Z1 = 28 m</a:t>
            </a:r>
          </a:p>
        </p:txBody>
      </p:sp>
      <p:sp>
        <p:nvSpPr>
          <p:cNvPr id="13" name="Retângulo 8"/>
          <p:cNvSpPr>
            <a:spLocks noChangeArrowheads="1"/>
          </p:cNvSpPr>
          <p:nvPr/>
        </p:nvSpPr>
        <p:spPr bwMode="auto">
          <a:xfrm>
            <a:off x="5191125" y="1511786"/>
            <a:ext cx="160655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pt-BR" alt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ea typeface="ＭＳ Ｐゴシック" charset="0"/>
                <a:cs typeface="Verdana" charset="0"/>
              </a:rPr>
              <a:t>Z2 = 14 m</a:t>
            </a:r>
          </a:p>
        </p:txBody>
      </p:sp>
      <p:sp>
        <p:nvSpPr>
          <p:cNvPr id="17" name="Retângulo 9"/>
          <p:cNvSpPr>
            <a:spLocks noChangeArrowheads="1"/>
          </p:cNvSpPr>
          <p:nvPr/>
        </p:nvSpPr>
        <p:spPr bwMode="auto">
          <a:xfrm>
            <a:off x="7207250" y="1516549"/>
            <a:ext cx="161925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pt-BR" alt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ea typeface="ＭＳ Ｐゴシック" charset="0"/>
                <a:cs typeface="Verdana" charset="0"/>
              </a:rPr>
              <a:t>Z3 = 14 m</a:t>
            </a:r>
          </a:p>
        </p:txBody>
      </p:sp>
      <p:sp>
        <p:nvSpPr>
          <p:cNvPr id="18" name="Retângulo 10"/>
          <p:cNvSpPr>
            <a:spLocks noChangeArrowheads="1"/>
          </p:cNvSpPr>
          <p:nvPr/>
        </p:nvSpPr>
        <p:spPr bwMode="auto">
          <a:xfrm>
            <a:off x="1722439" y="3854936"/>
            <a:ext cx="22510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pt-BR" alt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ea typeface="ＭＳ Ｐゴシック" charset="0"/>
                <a:cs typeface="Verdana" charset="0"/>
              </a:rPr>
              <a:t>Z4 = 335,5 m</a:t>
            </a:r>
          </a:p>
        </p:txBody>
      </p:sp>
      <p:sp>
        <p:nvSpPr>
          <p:cNvPr id="14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347801600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348" y="1362277"/>
            <a:ext cx="2858160" cy="1925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9329" y="1362277"/>
            <a:ext cx="3366540" cy="1925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427" y="4091975"/>
            <a:ext cx="2911363" cy="195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0916" y="4103889"/>
            <a:ext cx="3366541" cy="1925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m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8001" y="2586566"/>
            <a:ext cx="2556679" cy="1918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40007831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CaixaDeTexto 3"/>
          <p:cNvSpPr txBox="1">
            <a:spLocks noChangeArrowheads="1"/>
          </p:cNvSpPr>
          <p:nvPr/>
        </p:nvSpPr>
        <p:spPr bwMode="auto">
          <a:xfrm>
            <a:off x="5169024" y="2299899"/>
            <a:ext cx="4159732" cy="3951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altLang="pt-BR" dirty="0">
                <a:solidFill>
                  <a:srgbClr val="004853"/>
                </a:solidFill>
                <a:latin typeface="+mn-lt"/>
                <a:ea typeface="+mn-ea"/>
              </a:rPr>
              <a:t>Santos</a:t>
            </a:r>
          </a:p>
          <a:p>
            <a:pPr algn="ctr" eaLnBrk="1" hangingPunct="1">
              <a:spcBef>
                <a:spcPct val="20000"/>
              </a:spcBef>
              <a:spcAft>
                <a:spcPts val="600"/>
              </a:spcAft>
              <a:defRPr/>
            </a:pPr>
            <a:endParaRPr lang="pt-BR" altLang="pt-BR" dirty="0">
              <a:solidFill>
                <a:srgbClr val="004853"/>
              </a:solidFill>
              <a:latin typeface="+mn-lt"/>
              <a:ea typeface="+mn-ea"/>
            </a:endParaRPr>
          </a:p>
          <a:p>
            <a:pPr algn="ctr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altLang="pt-BR" dirty="0">
                <a:solidFill>
                  <a:srgbClr val="004853"/>
                </a:solidFill>
                <a:latin typeface="+mn-lt"/>
                <a:ea typeface="+mn-ea"/>
              </a:rPr>
              <a:t>Investimento: R$ 1.360.000,00</a:t>
            </a:r>
          </a:p>
          <a:p>
            <a:pPr algn="ctr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altLang="pt-BR" dirty="0">
                <a:solidFill>
                  <a:srgbClr val="004853"/>
                </a:solidFill>
                <a:latin typeface="+mn-lt"/>
                <a:ea typeface="+mn-ea"/>
              </a:rPr>
              <a:t>RDP: 101,96 kW </a:t>
            </a:r>
          </a:p>
          <a:p>
            <a:pPr algn="ctr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altLang="pt-BR" dirty="0">
                <a:solidFill>
                  <a:srgbClr val="004853"/>
                </a:solidFill>
                <a:latin typeface="+mn-lt"/>
                <a:ea typeface="+mn-ea"/>
              </a:rPr>
              <a:t>EE: 776,25 </a:t>
            </a:r>
            <a:r>
              <a:rPr lang="pt-BR" altLang="pt-BR" dirty="0" err="1">
                <a:solidFill>
                  <a:srgbClr val="004853"/>
                </a:solidFill>
                <a:latin typeface="+mn-lt"/>
                <a:ea typeface="+mn-ea"/>
              </a:rPr>
              <a:t>MWh</a:t>
            </a:r>
            <a:r>
              <a:rPr lang="pt-BR" altLang="pt-BR" dirty="0">
                <a:solidFill>
                  <a:srgbClr val="004853"/>
                </a:solidFill>
                <a:latin typeface="+mn-lt"/>
                <a:ea typeface="+mn-ea"/>
              </a:rPr>
              <a:t>/Ano</a:t>
            </a:r>
          </a:p>
          <a:p>
            <a:pPr algn="ctr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altLang="pt-BR" dirty="0">
                <a:solidFill>
                  <a:srgbClr val="004853"/>
                </a:solidFill>
                <a:latin typeface="+mn-lt"/>
                <a:ea typeface="+mn-ea"/>
              </a:rPr>
              <a:t>RCB: 0,5163 </a:t>
            </a:r>
          </a:p>
          <a:p>
            <a:pPr algn="ctr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altLang="pt-BR" dirty="0">
                <a:solidFill>
                  <a:srgbClr val="004853"/>
                </a:solidFill>
                <a:latin typeface="+mn-lt"/>
                <a:ea typeface="+mn-ea"/>
              </a:rPr>
              <a:t>252 projetores</a:t>
            </a:r>
          </a:p>
        </p:txBody>
      </p:sp>
      <p:sp>
        <p:nvSpPr>
          <p:cNvPr id="8" name="CaixaDeTexto 4"/>
          <p:cNvSpPr txBox="1">
            <a:spLocks noChangeArrowheads="1"/>
          </p:cNvSpPr>
          <p:nvPr/>
        </p:nvSpPr>
        <p:spPr bwMode="auto">
          <a:xfrm>
            <a:off x="488504" y="2299899"/>
            <a:ext cx="4406142" cy="3951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altLang="pt-BR" dirty="0">
                <a:solidFill>
                  <a:srgbClr val="004853"/>
                </a:solidFill>
                <a:latin typeface="+mn-lt"/>
                <a:ea typeface="+mn-ea"/>
              </a:rPr>
              <a:t>Campinas</a:t>
            </a:r>
          </a:p>
          <a:p>
            <a:pPr algn="ctr" eaLnBrk="1" hangingPunct="1">
              <a:spcBef>
                <a:spcPct val="20000"/>
              </a:spcBef>
              <a:spcAft>
                <a:spcPts val="600"/>
              </a:spcAft>
              <a:defRPr/>
            </a:pPr>
            <a:endParaRPr lang="pt-BR" altLang="pt-BR" dirty="0">
              <a:solidFill>
                <a:srgbClr val="004853"/>
              </a:solidFill>
              <a:latin typeface="+mn-lt"/>
              <a:ea typeface="+mn-ea"/>
            </a:endParaRPr>
          </a:p>
          <a:p>
            <a:pPr algn="ctr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altLang="pt-BR" dirty="0">
                <a:solidFill>
                  <a:srgbClr val="004853"/>
                </a:solidFill>
                <a:latin typeface="+mn-lt"/>
                <a:ea typeface="+mn-ea"/>
              </a:rPr>
              <a:t>Investimento: R$ 2.230.000,00</a:t>
            </a:r>
          </a:p>
          <a:p>
            <a:pPr algn="ctr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altLang="pt-BR" dirty="0">
                <a:solidFill>
                  <a:srgbClr val="004853"/>
                </a:solidFill>
                <a:latin typeface="+mn-lt"/>
                <a:ea typeface="+mn-ea"/>
              </a:rPr>
              <a:t>RDP: 166,28 kW </a:t>
            </a:r>
          </a:p>
          <a:p>
            <a:pPr algn="ctr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altLang="pt-BR" dirty="0">
                <a:solidFill>
                  <a:srgbClr val="004853"/>
                </a:solidFill>
                <a:latin typeface="+mn-lt"/>
                <a:ea typeface="+mn-ea"/>
              </a:rPr>
              <a:t>EE: 1748,17 </a:t>
            </a:r>
            <a:r>
              <a:rPr lang="pt-BR" altLang="pt-BR" dirty="0" err="1">
                <a:solidFill>
                  <a:srgbClr val="004853"/>
                </a:solidFill>
                <a:latin typeface="+mn-lt"/>
                <a:ea typeface="+mn-ea"/>
              </a:rPr>
              <a:t>MWh</a:t>
            </a:r>
            <a:r>
              <a:rPr lang="pt-BR" altLang="pt-BR" dirty="0">
                <a:solidFill>
                  <a:srgbClr val="004853"/>
                </a:solidFill>
                <a:latin typeface="+mn-lt"/>
                <a:ea typeface="+mn-ea"/>
              </a:rPr>
              <a:t>/Ano </a:t>
            </a:r>
          </a:p>
          <a:p>
            <a:pPr algn="ctr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altLang="pt-BR" dirty="0">
                <a:solidFill>
                  <a:srgbClr val="004853"/>
                </a:solidFill>
                <a:latin typeface="+mn-lt"/>
                <a:ea typeface="+mn-ea"/>
              </a:rPr>
              <a:t>RCB: 0,7626</a:t>
            </a:r>
          </a:p>
          <a:p>
            <a:pPr algn="ctr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altLang="pt-BR" dirty="0">
                <a:solidFill>
                  <a:srgbClr val="004853"/>
                </a:solidFill>
                <a:latin typeface="+mn-lt"/>
                <a:ea typeface="+mn-ea"/>
              </a:rPr>
              <a:t>320 projetores</a:t>
            </a:r>
          </a:p>
        </p:txBody>
      </p:sp>
      <p:sp>
        <p:nvSpPr>
          <p:cNvPr id="11" name="Título 1"/>
          <p:cNvSpPr txBox="1">
            <a:spLocks/>
          </p:cNvSpPr>
          <p:nvPr/>
        </p:nvSpPr>
        <p:spPr bwMode="auto">
          <a:xfrm>
            <a:off x="776536" y="1256674"/>
            <a:ext cx="8323556" cy="639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pt-BR" altLang="pt-BR" sz="3200" dirty="0">
                <a:solidFill>
                  <a:srgbClr val="004853"/>
                </a:solidFill>
                <a:latin typeface="+mn-lt"/>
                <a:ea typeface="+mn-ea"/>
              </a:rPr>
              <a:t>Resultados Financeiros e Energéticos</a:t>
            </a:r>
          </a:p>
        </p:txBody>
      </p:sp>
      <p:sp>
        <p:nvSpPr>
          <p:cNvPr id="12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12247353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500064" y="1170866"/>
            <a:ext cx="8815387" cy="96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pt-BR" altLang="pt-BR" sz="3200" dirty="0">
                <a:solidFill>
                  <a:srgbClr val="004853"/>
                </a:solidFill>
                <a:latin typeface="+mn-lt"/>
                <a:ea typeface="+mn-ea"/>
              </a:rPr>
              <a:t>Eficiência Energética em Sistema de Iluminação de Semáforos</a:t>
            </a: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479425" y="2179612"/>
            <a:ext cx="8815388" cy="3883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Seis projetos de eficiência energética concluídos em semáforos: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Campinas – 10.870 módulos;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Santos – 8.818 módulos;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Ribeirão Preto – 6.529 módulos;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Bauru – 2.191 módulos;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Americana – 1.662 módulos;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Sumaré – 961 módulos.</a:t>
            </a:r>
          </a:p>
        </p:txBody>
      </p:sp>
      <p:pic>
        <p:nvPicPr>
          <p:cNvPr id="11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5558" y="2885613"/>
            <a:ext cx="3027362" cy="2271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Imagem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2920" y="4001625"/>
            <a:ext cx="2947988" cy="220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251198606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582167" y="1732530"/>
            <a:ext cx="8837612" cy="1601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Economia de energia (até a 90 %) em relação às incandescentes.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Redução de manutenção devido à maior vida útil dos sistemas a LED.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Aumento da segurança para motoristas e pedestres (visível com precisão mesmo em dias ensolarados).</a:t>
            </a:r>
            <a:r>
              <a:rPr lang="en-US" sz="1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582167" y="1084457"/>
            <a:ext cx="6572250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altLang="pt-BR" sz="3200" dirty="0">
                <a:solidFill>
                  <a:srgbClr val="004853"/>
                </a:solidFill>
                <a:latin typeface="+mn-lt"/>
                <a:ea typeface="+mn-ea"/>
              </a:rPr>
              <a:t>Dados do </a:t>
            </a:r>
            <a:r>
              <a:rPr lang="en-US" altLang="pt-BR" sz="3200" dirty="0" err="1">
                <a:solidFill>
                  <a:srgbClr val="004853"/>
                </a:solidFill>
                <a:latin typeface="+mn-lt"/>
                <a:ea typeface="+mn-ea"/>
              </a:rPr>
              <a:t>Projeto</a:t>
            </a:r>
            <a:endParaRPr lang="en-US" altLang="pt-BR" sz="3200" dirty="0">
              <a:solidFill>
                <a:srgbClr val="004853"/>
              </a:solidFill>
              <a:latin typeface="+mn-lt"/>
              <a:ea typeface="+mn-ea"/>
            </a:endParaRPr>
          </a:p>
        </p:txBody>
      </p:sp>
      <p:pic>
        <p:nvPicPr>
          <p:cNvPr id="11" name="Imagem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2445" y="4034975"/>
            <a:ext cx="2279650" cy="237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Imagem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558" y="4349299"/>
            <a:ext cx="3095625" cy="2063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m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4046" y="3544437"/>
            <a:ext cx="1957387" cy="286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128975665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577156" y="2020413"/>
            <a:ext cx="8696325" cy="398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Investimento:					R$  9.673.000,00</a:t>
            </a:r>
          </a:p>
          <a:p>
            <a:pPr marL="0" indent="0" algn="l" eaLnBrk="1" hangingPunct="1"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Energia Economizada:				8.674 </a:t>
            </a:r>
            <a:r>
              <a:rPr lang="pt-BR" sz="20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MWh</a:t>
            </a: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/ano</a:t>
            </a:r>
          </a:p>
          <a:p>
            <a:pPr marL="0" indent="0" algn="l" eaLnBrk="1" hangingPunct="1"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Redução de demanda na ponta:	985 kW</a:t>
            </a:r>
          </a:p>
          <a:p>
            <a:pPr marL="0" indent="0" algn="l" eaLnBrk="1" hangingPunct="1">
              <a:defRPr/>
            </a:pPr>
            <a:endParaRPr lang="pt-BR" sz="2000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  <a:p>
            <a:pPr marL="0" indent="0" algn="l" eaLnBrk="1" hangingPunct="1"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Módulos LED:</a:t>
            </a:r>
          </a:p>
          <a:p>
            <a:pPr marL="0" indent="0" algn="l" eaLnBrk="1" hangingPunct="1"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31.031 módulos</a:t>
            </a:r>
          </a:p>
          <a:p>
            <a:pPr marL="0" indent="0" algn="l" eaLnBrk="1" hangingPunct="1"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1.565 novos grupos semafóricos</a:t>
            </a:r>
          </a:p>
          <a:p>
            <a:pPr marL="0" indent="0" algn="l" eaLnBrk="1" hangingPunct="1"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12 Nobreaks</a:t>
            </a:r>
          </a:p>
          <a:p>
            <a:pPr marL="0" indent="0" algn="l" eaLnBrk="1" hangingPunct="1">
              <a:defRPr/>
            </a:pPr>
            <a:endParaRPr lang="pt-BR" sz="2000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  <a:p>
            <a:pPr marL="0" indent="0" algn="l" eaLnBrk="1" hangingPunct="1"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RCB &lt; 0,80 em todos os projetos.</a:t>
            </a:r>
          </a:p>
          <a:p>
            <a:pPr marL="0" indent="0" algn="l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816546" y="1041247"/>
            <a:ext cx="6572250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pt-BR" altLang="pt-BR" sz="3200" dirty="0">
                <a:solidFill>
                  <a:srgbClr val="004853"/>
                </a:solidFill>
                <a:latin typeface="+mn-lt"/>
                <a:ea typeface="+mn-ea"/>
              </a:rPr>
              <a:t>Resultados</a:t>
            </a:r>
          </a:p>
        </p:txBody>
      </p:sp>
      <p:pic>
        <p:nvPicPr>
          <p:cNvPr id="11" name="Imagem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9034" y="3283937"/>
            <a:ext cx="3767138" cy="2509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73909615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537077" y="1198755"/>
            <a:ext cx="8815387" cy="96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pt-BR" altLang="pt-BR" sz="3200" dirty="0">
                <a:solidFill>
                  <a:srgbClr val="004853"/>
                </a:solidFill>
                <a:latin typeface="+mn-lt"/>
                <a:ea typeface="+mn-ea"/>
              </a:rPr>
              <a:t>Eficiência Energética – Usina Solar Fotovoltaica e Sistema de Iluminação</a:t>
            </a: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505618" y="2211213"/>
            <a:ext cx="8815388" cy="2623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Hospital </a:t>
            </a:r>
            <a:r>
              <a:rPr lang="pt-BR" sz="28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Boldrini</a:t>
            </a:r>
            <a:endParaRPr lang="pt-BR" sz="2800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  <a:p>
            <a:pPr marL="0" indent="0" algn="l" eaLnBrk="1" hangingPunct="1"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Fundado pelo Clube da Lady de Campinas em 1978, o Centro Infantil </a:t>
            </a:r>
            <a:r>
              <a:rPr lang="pt-BR" sz="20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Boldrini</a:t>
            </a: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 é referência no tratamento de câncer infantil.</a:t>
            </a:r>
          </a:p>
          <a:p>
            <a:pPr marL="0" indent="0" algn="l" eaLnBrk="1" hangingPunct="1"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Além do diagnóstico e tratamento dos pacientes, assumiu papel em programas de educação e capacitação de médicos e outros profissionais de saúde.</a:t>
            </a:r>
          </a:p>
        </p:txBody>
      </p:sp>
      <p:pic>
        <p:nvPicPr>
          <p:cNvPr id="11" name="Picture 6" descr="Hospital_Boldrini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218" y="4777288"/>
            <a:ext cx="2395538" cy="159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8" descr="Boldrini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1107" y="4777288"/>
            <a:ext cx="2892425" cy="159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312299233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506576" y="1025992"/>
            <a:ext cx="8815387" cy="96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pt-BR" altLang="pt-BR" sz="3200" dirty="0">
                <a:solidFill>
                  <a:srgbClr val="004853"/>
                </a:solidFill>
                <a:latin typeface="+mn-lt"/>
                <a:ea typeface="+mn-ea"/>
              </a:rPr>
              <a:t>Eficiência Energética – Usina Solar Fotovoltaica e Sistema de Iluminação</a:t>
            </a: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491104" y="2202155"/>
            <a:ext cx="8815388" cy="2208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Hospital </a:t>
            </a:r>
            <a:r>
              <a:rPr lang="pt-BR" sz="28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Sobrapar</a:t>
            </a:r>
            <a:endParaRPr lang="pt-BR" sz="2800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  <a:p>
            <a:pPr marL="0" indent="0" algn="l" eaLnBrk="1" hangingPunct="1"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A SOBRAPAR - Sociedade Brasileira de Pesquisa e Assistência para Reabilitação Craniofacial foi fundada em 1979.</a:t>
            </a:r>
          </a:p>
          <a:p>
            <a:pPr marL="0" indent="0" algn="l" eaLnBrk="1" hangingPunct="1"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Em parceria com a </a:t>
            </a:r>
            <a:r>
              <a:rPr lang="pt-BR" sz="20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Lateinamerika</a:t>
            </a: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 </a:t>
            </a:r>
            <a:r>
              <a:rPr lang="pt-BR" sz="20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Zentrum</a:t>
            </a: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 (organização alemã), apoia entidades beneficentes que atendam populações carentes da América Latina.</a:t>
            </a:r>
          </a:p>
        </p:txBody>
      </p:sp>
      <p:pic>
        <p:nvPicPr>
          <p:cNvPr id="11" name="Picture 6" descr="sobrapar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6013" y="4537575"/>
            <a:ext cx="2722563" cy="183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4269" y="4537575"/>
            <a:ext cx="3210014" cy="1805633"/>
          </a:xfrm>
          <a:prstGeom prst="rect">
            <a:avLst/>
          </a:prstGeom>
        </p:spPr>
      </p:pic>
      <p:sp>
        <p:nvSpPr>
          <p:cNvPr id="17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566870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646905" y="1490597"/>
            <a:ext cx="3736182" cy="483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altLang="pt-BR" sz="3200" dirty="0">
                <a:solidFill>
                  <a:srgbClr val="004853"/>
                </a:solidFill>
                <a:latin typeface="+mn-lt"/>
                <a:ea typeface="+mn-ea"/>
              </a:rPr>
              <a:t>Dados do Projeto</a:t>
            </a: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524668" y="2239450"/>
            <a:ext cx="8815388" cy="316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just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Instalação de sistema de geração de energia utilizando tecnologia Solar Fotovoltaica.</a:t>
            </a:r>
          </a:p>
          <a:p>
            <a:pPr marL="0" indent="0" algn="just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Sistema sem armazenamento de energia por baterias (energia excedente injetada na rede).</a:t>
            </a:r>
          </a:p>
          <a:p>
            <a:pPr marL="0" indent="0" algn="just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Utilização de experiência adquirida pela área de P&amp;D (por meio de 3 projetos), resultando na aplicação da tecnologia com silício </a:t>
            </a:r>
            <a:r>
              <a:rPr lang="pt-BR" sz="20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policristalino</a:t>
            </a: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 (maior eficiência e rendimento).</a:t>
            </a:r>
          </a:p>
        </p:txBody>
      </p:sp>
      <p:sp>
        <p:nvSpPr>
          <p:cNvPr id="11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17968063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647701" y="2037846"/>
            <a:ext cx="8674099" cy="4147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just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Potência instalada de 85 kW (~ 350 placas)</a:t>
            </a:r>
          </a:p>
          <a:p>
            <a:pPr marL="285750" indent="-285750" algn="just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20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Boldrini</a:t>
            </a: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 – 70 kW</a:t>
            </a:r>
          </a:p>
          <a:p>
            <a:pPr marL="285750" indent="-285750" algn="just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20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Sobrapar</a:t>
            </a: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 – 15 kW</a:t>
            </a:r>
          </a:p>
          <a:p>
            <a:pPr marL="0" indent="0" algn="just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O projeto também contemplou o sistema de iluminação interna, substituindo lâmpadas fluorescentes tubulares por lâmpadas LED.</a:t>
            </a:r>
          </a:p>
          <a:p>
            <a:pPr marL="285750" indent="-285750" algn="just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Lâmpadas LED de 9 W – 4.513 unidades;</a:t>
            </a:r>
          </a:p>
          <a:p>
            <a:pPr marL="285750" indent="-285750" algn="just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Lâmpadas LED de 18 W – 2.399 unidades.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647700" y="1389774"/>
            <a:ext cx="6572250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altLang="pt-BR" sz="3200" dirty="0">
                <a:solidFill>
                  <a:srgbClr val="004853"/>
                </a:solidFill>
                <a:latin typeface="+mn-lt"/>
                <a:ea typeface="+mn-ea"/>
              </a:rPr>
              <a:t>Dados do </a:t>
            </a:r>
            <a:r>
              <a:rPr lang="en-US" altLang="pt-BR" sz="3200" dirty="0" err="1">
                <a:solidFill>
                  <a:srgbClr val="004853"/>
                </a:solidFill>
                <a:latin typeface="+mn-lt"/>
                <a:ea typeface="+mn-ea"/>
              </a:rPr>
              <a:t>Projeto</a:t>
            </a:r>
            <a:endParaRPr lang="en-US" altLang="pt-BR" sz="3200" dirty="0">
              <a:solidFill>
                <a:srgbClr val="004853"/>
              </a:solidFill>
              <a:latin typeface="+mn-lt"/>
              <a:ea typeface="+mn-ea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7557" y="1389774"/>
            <a:ext cx="3398467" cy="1911638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5129" y="4862290"/>
            <a:ext cx="2853433" cy="1712060"/>
          </a:xfrm>
          <a:prstGeom prst="rect">
            <a:avLst/>
          </a:prstGeom>
        </p:spPr>
      </p:pic>
      <p:sp>
        <p:nvSpPr>
          <p:cNvPr id="11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207774736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onsiderações </a:t>
            </a:r>
            <a:r>
              <a:rPr lang="pt-BR" dirty="0" smtClean="0"/>
              <a:t>Gerais</a:t>
            </a:r>
            <a:endParaRPr lang="pt-BR" dirty="0"/>
          </a:p>
        </p:txBody>
      </p:sp>
      <p:sp>
        <p:nvSpPr>
          <p:cNvPr id="38916" name="Rectangle 4"/>
          <p:cNvSpPr>
            <a:spLocks noChangeArrowheads="1"/>
          </p:cNvSpPr>
          <p:nvPr/>
        </p:nvSpPr>
        <p:spPr bwMode="auto">
          <a:xfrm>
            <a:off x="655641" y="1593772"/>
            <a:ext cx="8569325" cy="3785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just"/>
            <a:r>
              <a:rPr lang="pt-BR" altLang="pt-BR" sz="2000" b="0" dirty="0">
                <a:solidFill>
                  <a:srgbClr val="004853"/>
                </a:solidFill>
              </a:rPr>
              <a:t>Em 2030, estima-se a oferta de um montante de 53 </a:t>
            </a:r>
            <a:r>
              <a:rPr lang="pt-BR" altLang="pt-BR" sz="2000" b="0" dirty="0" err="1">
                <a:solidFill>
                  <a:srgbClr val="004853"/>
                </a:solidFill>
              </a:rPr>
              <a:t>TWh</a:t>
            </a:r>
            <a:r>
              <a:rPr lang="pt-BR" altLang="pt-BR" sz="2000" b="0" dirty="0">
                <a:solidFill>
                  <a:srgbClr val="004853"/>
                </a:solidFill>
              </a:rPr>
              <a:t> (4%), a partir da adoção de medidas indutoras de Eficiência Energética.</a:t>
            </a:r>
          </a:p>
          <a:p>
            <a:pPr algn="just"/>
            <a:endParaRPr lang="pt-BR" altLang="pt-BR" sz="2000" b="0" dirty="0">
              <a:solidFill>
                <a:srgbClr val="004853"/>
              </a:solidFill>
            </a:endParaRPr>
          </a:p>
          <a:p>
            <a:pPr algn="just"/>
            <a:r>
              <a:rPr lang="pt-BR" altLang="pt-BR" sz="2000" b="0" dirty="0">
                <a:solidFill>
                  <a:srgbClr val="004853"/>
                </a:solidFill>
              </a:rPr>
              <a:t>Além das iniciativas de incremento da eficiência energética, observa-se ainda que:</a:t>
            </a:r>
          </a:p>
          <a:p>
            <a:pPr algn="just"/>
            <a:endParaRPr lang="pt-BR" altLang="pt-BR" sz="2000" b="0" dirty="0">
              <a:solidFill>
                <a:srgbClr val="004853"/>
              </a:solidFill>
            </a:endParaRPr>
          </a:p>
          <a:p>
            <a:pPr algn="just">
              <a:buFontTx/>
              <a:buChar char="•"/>
            </a:pPr>
            <a:r>
              <a:rPr lang="pt-BR" altLang="pt-BR" sz="2000" b="0" dirty="0">
                <a:solidFill>
                  <a:srgbClr val="004853"/>
                </a:solidFill>
              </a:rPr>
              <a:t> Setor industrial terá uma participação 37%.</a:t>
            </a:r>
          </a:p>
          <a:p>
            <a:pPr algn="just">
              <a:buFontTx/>
              <a:buChar char="•"/>
            </a:pPr>
            <a:r>
              <a:rPr lang="pt-BR" altLang="pt-BR" sz="2000" b="0" dirty="0">
                <a:solidFill>
                  <a:srgbClr val="004853"/>
                </a:solidFill>
              </a:rPr>
              <a:t> Setor terciário com 21% do consumo.</a:t>
            </a:r>
          </a:p>
          <a:p>
            <a:pPr algn="just">
              <a:buFontTx/>
              <a:buChar char="•"/>
            </a:pPr>
            <a:r>
              <a:rPr lang="pt-BR" altLang="pt-BR" sz="2000" b="0" dirty="0">
                <a:solidFill>
                  <a:srgbClr val="004853"/>
                </a:solidFill>
              </a:rPr>
              <a:t> Setor residencial em torno de 23%.</a:t>
            </a:r>
          </a:p>
          <a:p>
            <a:pPr algn="just"/>
            <a:endParaRPr lang="pt-BR" altLang="pt-BR" sz="2000" b="0" dirty="0">
              <a:solidFill>
                <a:srgbClr val="004853"/>
              </a:solidFill>
            </a:endParaRPr>
          </a:p>
          <a:p>
            <a:pPr algn="just"/>
            <a:r>
              <a:rPr lang="pt-BR" altLang="pt-BR" sz="2000" b="0" dirty="0">
                <a:solidFill>
                  <a:srgbClr val="004853"/>
                </a:solidFill>
              </a:rPr>
              <a:t>Estima-se que cerca de 13% de toda a eletricidade gerada será perdida no seu transporte.</a:t>
            </a:r>
          </a:p>
        </p:txBody>
      </p:sp>
    </p:spTree>
    <p:extLst>
      <p:ext uri="{BB962C8B-B14F-4D97-AF65-F5344CB8AC3E}">
        <p14:creationId xmlns:p14="http://schemas.microsoft.com/office/powerpoint/2010/main" val="96574301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594505" y="1846267"/>
            <a:ext cx="4932362" cy="4365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Sistema de Iluminação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Redução de demanda na ponta: 134 kW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Energia economizada: 1.179 </a:t>
            </a:r>
            <a:r>
              <a:rPr lang="pt-BR" sz="18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MWh</a:t>
            </a:r>
            <a:r>
              <a:rPr lang="pt-BR" sz="1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/ano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RCB: 0,46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Sistema de Geração Fotovoltaica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Redução de demanda na ponta: 14 kW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Energia economizada: 201 </a:t>
            </a:r>
            <a:r>
              <a:rPr lang="pt-BR" sz="18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MWh</a:t>
            </a:r>
            <a:r>
              <a:rPr lang="pt-BR" sz="1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/ano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RCB: 1,07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935495" y="1098857"/>
            <a:ext cx="6572250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altLang="pt-BR" sz="3200" dirty="0" err="1">
                <a:solidFill>
                  <a:srgbClr val="004853"/>
                </a:solidFill>
                <a:latin typeface="+mn-lt"/>
                <a:ea typeface="+mn-ea"/>
              </a:rPr>
              <a:t>Resultados</a:t>
            </a:r>
            <a:endParaRPr lang="en-US" altLang="pt-BR" sz="3200" dirty="0">
              <a:solidFill>
                <a:srgbClr val="004853"/>
              </a:solidFill>
              <a:latin typeface="+mn-lt"/>
              <a:ea typeface="+mn-ea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5673081" y="2249025"/>
            <a:ext cx="3151871" cy="256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ctr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Resultados Globais</a:t>
            </a:r>
          </a:p>
          <a:p>
            <a:pPr marL="0" indent="0" algn="ctr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RDP: 148,27 kW</a:t>
            </a:r>
          </a:p>
          <a:p>
            <a:pPr marL="0" indent="0" algn="ctr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EE: 1.381 </a:t>
            </a:r>
            <a:r>
              <a:rPr lang="pt-BR" sz="20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MWh</a:t>
            </a: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/ano</a:t>
            </a:r>
          </a:p>
          <a:p>
            <a:pPr marL="0" indent="0" algn="ctr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RCB: 0,69</a:t>
            </a:r>
          </a:p>
          <a:p>
            <a:pPr marL="0" indent="0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</a:t>
            </a:r>
          </a:p>
        </p:txBody>
      </p:sp>
      <p:sp>
        <p:nvSpPr>
          <p:cNvPr id="12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354382069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524616" y="1246795"/>
            <a:ext cx="8815387" cy="96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pt-BR" altLang="pt-BR" sz="3200" dirty="0">
                <a:solidFill>
                  <a:srgbClr val="004853"/>
                </a:solidFill>
                <a:latin typeface="+mn-lt"/>
                <a:ea typeface="+mn-ea"/>
              </a:rPr>
              <a:t>Eficiência Energética em Sistema de Iluminação Tecnologia LED</a:t>
            </a: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498049" y="2254906"/>
            <a:ext cx="8815388" cy="2452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Projeto realizado no Instituto de Biociências, Letras e Ciência Exatas – IBILCE, campus da Universidade Estadual Paulista “Júlio de Mesquita Filho” – UNESP, em São José do Rio Preto.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Utilização de tecnologia LED em substituição de lâmpadas fluorescentes tubulares e reatores.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8905" y="4403274"/>
            <a:ext cx="4239407" cy="1848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8440811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557087" y="1282583"/>
            <a:ext cx="3449751" cy="483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altLang="pt-BR" sz="3200" dirty="0">
                <a:solidFill>
                  <a:srgbClr val="004853"/>
                </a:solidFill>
                <a:latin typeface="+mn-lt"/>
                <a:ea typeface="+mn-ea"/>
              </a:rPr>
              <a:t>Dados do Projeto</a:t>
            </a: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524668" y="2083238"/>
            <a:ext cx="8815388" cy="3281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Iluminação LED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Equipamento instalado: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Lâmpadas Tubulares de 21 W – 8.478 unidades.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Lâmpadas Tubulares de 11 W – 755 unidades.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endParaRPr lang="pt-BR" sz="2000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Tecnologia LED possui uma vida útil 5 vezes maior que a tecnologia fluorescente (ganhos em manutenção e reposição)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0494" y="2069849"/>
            <a:ext cx="2690813" cy="179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266703570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557086" y="2391237"/>
            <a:ext cx="8860410" cy="337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ctr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Investimento: R$ 967.000,00</a:t>
            </a:r>
          </a:p>
          <a:p>
            <a:pPr marL="0" indent="0" algn="ctr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Redução de demanda na ponta: 216 kW</a:t>
            </a:r>
          </a:p>
          <a:p>
            <a:pPr marL="0" indent="0" algn="ctr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Energia economizada: 928 </a:t>
            </a:r>
            <a:r>
              <a:rPr lang="pt-BR" sz="20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MWh</a:t>
            </a: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/ano</a:t>
            </a:r>
          </a:p>
          <a:p>
            <a:pPr marL="0" indent="0" algn="ctr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Suficiente para abastecer cerca de 387 residências, que gastem em torno de 200 kWh/mês, durante um ano.</a:t>
            </a:r>
          </a:p>
          <a:p>
            <a:pPr marL="0" indent="0" algn="ctr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RCB 0,73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608013" y="1527140"/>
            <a:ext cx="6572250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pt-BR" altLang="pt-BR" sz="3200" dirty="0">
                <a:solidFill>
                  <a:srgbClr val="004853"/>
                </a:solidFill>
                <a:latin typeface="+mn-lt"/>
                <a:ea typeface="+mn-ea"/>
              </a:rPr>
              <a:t>Resultados</a:t>
            </a:r>
          </a:p>
        </p:txBody>
      </p:sp>
      <p:sp>
        <p:nvSpPr>
          <p:cNvPr id="11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218160867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545307" y="2074691"/>
            <a:ext cx="8815387" cy="270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just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Empresa fundada em 1921 com o nome fantasia de Meias Araraquara, passou a se chamar Lupo S.A. em 1987. Foi escolhida em 2000 como uma das 100 melhores empresas para se trabalhar, sendo eleita em 2005 pela revista ISTOÉ Dinheiro como a melhor empresa do setor têxtil.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545307" y="1049825"/>
            <a:ext cx="8815387" cy="96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pt-BR" altLang="pt-BR" sz="3200" dirty="0">
                <a:solidFill>
                  <a:srgbClr val="004853"/>
                </a:solidFill>
                <a:latin typeface="+mn-lt"/>
                <a:ea typeface="+mn-ea"/>
              </a:rPr>
              <a:t>Eficiência Energética na Indústria </a:t>
            </a:r>
          </a:p>
          <a:p>
            <a:pPr algn="ctr" eaLnBrk="1" hangingPunct="1"/>
            <a:r>
              <a:rPr lang="pt-BR" altLang="pt-BR" sz="3200" dirty="0">
                <a:solidFill>
                  <a:srgbClr val="004853"/>
                </a:solidFill>
                <a:latin typeface="+mn-lt"/>
                <a:ea typeface="+mn-ea"/>
              </a:rPr>
              <a:t>LUPO - Araraquara</a:t>
            </a:r>
          </a:p>
        </p:txBody>
      </p:sp>
      <p:pic>
        <p:nvPicPr>
          <p:cNvPr id="11" name="Picture 9" descr="https://media.licdn.com/media/p/4/005/05f/06d/1fd7c46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6706" y="4158074"/>
            <a:ext cx="6732587" cy="229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21197382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381001" y="1915481"/>
            <a:ext cx="9101137" cy="4134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just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O sistema de iluminação dos prédios que compunham a empresa LUPO era composto basicamente por:</a:t>
            </a:r>
          </a:p>
          <a:p>
            <a:pPr algn="just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Lâmpadas fluorescentes tipo HO de 110 W;</a:t>
            </a:r>
          </a:p>
          <a:p>
            <a:pPr algn="just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Lâmpadas vapor metálico de 250 W, em luminárias tipo High-</a:t>
            </a:r>
            <a:r>
              <a:rPr lang="pt-BR" sz="20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Bay</a:t>
            </a: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marL="0" indent="0" algn="just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sz="2000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  <a:p>
            <a:pPr marL="0" indent="0" algn="just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Afim de manter o nível de iluminância de 500 lux, foi necessário o rebaixamento das estruturas de sustentação das luminárias para a altura adequada, atingindo os níveis de iluminância exigidos .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666751" y="1367795"/>
            <a:ext cx="3352800" cy="483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altLang="pt-BR" sz="3200" dirty="0">
                <a:solidFill>
                  <a:srgbClr val="004853"/>
                </a:solidFill>
                <a:latin typeface="+mn-lt"/>
                <a:ea typeface="+mn-ea"/>
              </a:rPr>
              <a:t>Dados do Projeto</a:t>
            </a:r>
          </a:p>
        </p:txBody>
      </p:sp>
      <p:sp>
        <p:nvSpPr>
          <p:cNvPr id="11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61404705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545307" y="1475864"/>
            <a:ext cx="3283744" cy="483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pt-BR" altLang="pt-BR" sz="3200" dirty="0">
                <a:solidFill>
                  <a:srgbClr val="004853"/>
                </a:solidFill>
                <a:latin typeface="+mn-lt"/>
                <a:ea typeface="+mn-ea"/>
              </a:rPr>
              <a:t>Dados do Projeto</a:t>
            </a: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524668" y="2123563"/>
            <a:ext cx="8815388" cy="3281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Iluminação LED – lâmpadas tubulares de 22 W</a:t>
            </a:r>
          </a:p>
          <a:p>
            <a:pPr marL="0" indent="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sz="2000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  <a:p>
            <a:pPr marL="0" indent="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Escopo do projeto:</a:t>
            </a:r>
          </a:p>
          <a:p>
            <a:pPr marL="0" indent="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Substituição de 2.259 unidades HO 110 W por 2.259 unidades LED 22 W</a:t>
            </a:r>
          </a:p>
          <a:p>
            <a:pPr marL="0" indent="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Substituição de 773 unidades VM 250 W por 961 unidades LED 22 W</a:t>
            </a:r>
          </a:p>
          <a:p>
            <a:pPr marL="0" indent="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sz="2000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  <a:p>
            <a:pPr marL="0" indent="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Tecnologia LED possui uma vida útil 5 vezes maior que a tecnologia fluorescente (ganhos em manutenção e reposição).</a:t>
            </a:r>
          </a:p>
        </p:txBody>
      </p:sp>
      <p:sp>
        <p:nvSpPr>
          <p:cNvPr id="11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222606908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pic>
        <p:nvPicPr>
          <p:cNvPr id="11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7525" y="1379074"/>
            <a:ext cx="3195638" cy="232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Imagem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968" y="3885738"/>
            <a:ext cx="3195638" cy="2325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m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5538" y="1379074"/>
            <a:ext cx="3022600" cy="232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Imagem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981" y="3885737"/>
            <a:ext cx="3022600" cy="2325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2"/>
          <p:cNvSpPr txBox="1">
            <a:spLocks noChangeArrowheads="1"/>
          </p:cNvSpPr>
          <p:nvPr/>
        </p:nvSpPr>
        <p:spPr bwMode="auto">
          <a:xfrm>
            <a:off x="765175" y="1779124"/>
            <a:ext cx="1487488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altLang="pt-BR" sz="3200" dirty="0">
                <a:solidFill>
                  <a:srgbClr val="004853"/>
                </a:solidFill>
                <a:latin typeface="+mn-lt"/>
                <a:ea typeface="+mn-ea"/>
              </a:rPr>
              <a:t>Antes</a:t>
            </a:r>
          </a:p>
        </p:txBody>
      </p:sp>
      <p:sp>
        <p:nvSpPr>
          <p:cNvPr id="19" name="Rectangle 2"/>
          <p:cNvSpPr txBox="1">
            <a:spLocks noChangeArrowheads="1"/>
          </p:cNvSpPr>
          <p:nvPr/>
        </p:nvSpPr>
        <p:spPr bwMode="auto">
          <a:xfrm>
            <a:off x="7569968" y="4736637"/>
            <a:ext cx="1487488" cy="96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pt-BR" altLang="pt-BR" sz="3200" dirty="0">
                <a:solidFill>
                  <a:srgbClr val="004853"/>
                </a:solidFill>
                <a:latin typeface="+mn-lt"/>
                <a:ea typeface="+mn-ea"/>
              </a:rPr>
              <a:t>Depois</a:t>
            </a:r>
          </a:p>
        </p:txBody>
      </p:sp>
      <p:sp>
        <p:nvSpPr>
          <p:cNvPr id="14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190113401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094308" y="1947856"/>
            <a:ext cx="7531100" cy="3940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Investimento: R$ 961.519,67</a:t>
            </a:r>
          </a:p>
          <a:p>
            <a:pPr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AutoNum type="arabicPeriod"/>
              <a:defRPr/>
            </a:pPr>
            <a:endParaRPr lang="pt-BR" sz="2000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  <a:p>
            <a:pPr marL="0" indent="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Energia economizada:  2.181,24 MWh/ano</a:t>
            </a:r>
          </a:p>
          <a:p>
            <a:pPr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AutoNum type="arabicPeriod"/>
              <a:defRPr/>
            </a:pPr>
            <a:endParaRPr lang="pt-BR" sz="2000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  <a:p>
            <a:pPr marL="0" indent="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Redução de demanda no horário de ponta</a:t>
            </a:r>
            <a:r>
              <a:rPr lang="en-US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: </a:t>
            </a: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298,8 kW</a:t>
            </a:r>
          </a:p>
          <a:p>
            <a:pPr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AutoNum type="arabicPeriod"/>
              <a:defRPr/>
            </a:pPr>
            <a:endParaRPr lang="en-US" sz="2000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  <a:p>
            <a:pPr marL="0" indent="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RCB: 0,48</a:t>
            </a:r>
          </a:p>
          <a:p>
            <a:pPr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AutoNum type="arabicPeriod"/>
              <a:defRPr/>
            </a:pPr>
            <a:endParaRPr lang="en-US" sz="2000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  <a:p>
            <a:pPr marL="0" indent="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Payback</a:t>
            </a: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 Simples: 1,6 anos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1094308" y="1155768"/>
            <a:ext cx="6572250" cy="96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/>
            <a:r>
              <a:rPr lang="en-US" altLang="pt-BR" sz="3200" dirty="0" err="1">
                <a:solidFill>
                  <a:srgbClr val="004853"/>
                </a:solidFill>
                <a:latin typeface="+mn-lt"/>
                <a:ea typeface="+mn-ea"/>
              </a:rPr>
              <a:t>Resultados</a:t>
            </a:r>
            <a:endParaRPr lang="en-US" altLang="pt-BR" sz="3200" dirty="0">
              <a:solidFill>
                <a:srgbClr val="004853"/>
              </a:solidFill>
              <a:latin typeface="+mn-lt"/>
              <a:ea typeface="+mn-ea"/>
            </a:endParaRPr>
          </a:p>
        </p:txBody>
      </p:sp>
      <p:sp>
        <p:nvSpPr>
          <p:cNvPr id="11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372635900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554038" y="2561124"/>
            <a:ext cx="8837612" cy="303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just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Brodowski é um município brasileiro localizado na região nordeste do estado de São Paulo. Possui uma área de 279,8 km² e uma população estimada em 23.134 habitantes (IBGE 2014).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576264" y="1346564"/>
            <a:ext cx="8815387" cy="96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pt-BR" altLang="pt-BR" dirty="0">
                <a:solidFill>
                  <a:schemeClr val="tx2">
                    <a:lumMod val="50000"/>
                  </a:schemeClr>
                </a:solidFill>
                <a:latin typeface="Verdana" pitchFamily="34" charset="0"/>
              </a:rPr>
              <a:t>Eficiência Energética no Sistema Casa Branca SAAEB - Brodowski</a:t>
            </a:r>
          </a:p>
        </p:txBody>
      </p:sp>
      <p:pic>
        <p:nvPicPr>
          <p:cNvPr id="11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539" y="3913675"/>
            <a:ext cx="7413625" cy="2257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33170401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Qual é o Cenário</a:t>
            </a:r>
            <a:r>
              <a:rPr lang="pt-BR" dirty="0" smtClean="0"/>
              <a:t>?</a:t>
            </a:r>
            <a:endParaRPr lang="pt-BR" dirty="0"/>
          </a:p>
        </p:txBody>
      </p:sp>
      <p:sp>
        <p:nvSpPr>
          <p:cNvPr id="51205" name="Rectangle 5"/>
          <p:cNvSpPr>
            <a:spLocks noChangeArrowheads="1"/>
          </p:cNvSpPr>
          <p:nvPr/>
        </p:nvSpPr>
        <p:spPr bwMode="auto">
          <a:xfrm>
            <a:off x="781050" y="1593772"/>
            <a:ext cx="8331200" cy="40934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algn="just"/>
            <a:r>
              <a:rPr lang="pt-BR" altLang="pt-BR" sz="2000" b="0" dirty="0">
                <a:solidFill>
                  <a:srgbClr val="004853"/>
                </a:solidFill>
              </a:rPr>
              <a:t>O Brasil é o quinto maior emissor mundial de gases de efeito estufa, mas é o terceiro com mais capacidade para reduzir as emissões em até 30% até 2020.</a:t>
            </a:r>
          </a:p>
          <a:p>
            <a:pPr algn="just"/>
            <a:endParaRPr lang="pt-BR" altLang="pt-BR" sz="2000" b="0" dirty="0">
              <a:solidFill>
                <a:srgbClr val="004853"/>
              </a:solidFill>
            </a:endParaRPr>
          </a:p>
          <a:p>
            <a:pPr algn="just"/>
            <a:r>
              <a:rPr lang="pt-BR" altLang="pt-BR" sz="2000" b="0" dirty="0">
                <a:solidFill>
                  <a:srgbClr val="004853"/>
                </a:solidFill>
              </a:rPr>
              <a:t>Tecnologias que podem ajudar a diminuir a emissão dos gases de efeito estufa:</a:t>
            </a:r>
          </a:p>
          <a:p>
            <a:pPr algn="just"/>
            <a:endParaRPr lang="pt-BR" altLang="pt-BR" sz="2000" b="0" dirty="0">
              <a:solidFill>
                <a:srgbClr val="004853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altLang="pt-BR" sz="2000" b="0" dirty="0">
                <a:solidFill>
                  <a:srgbClr val="004853"/>
                </a:solidFill>
              </a:rPr>
              <a:t>Videoconferência e teleconferência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altLang="pt-BR" sz="2000" b="0" dirty="0">
                <a:solidFill>
                  <a:srgbClr val="004853"/>
                </a:solidFill>
              </a:rPr>
              <a:t>Trabalho remoto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altLang="pt-BR" sz="2000" b="0" dirty="0">
                <a:solidFill>
                  <a:srgbClr val="004853"/>
                </a:solidFill>
              </a:rPr>
              <a:t>Sistemas de gerenciamento de energia em edifício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altLang="pt-BR" sz="2000" b="0" dirty="0">
                <a:solidFill>
                  <a:srgbClr val="004853"/>
                </a:solidFill>
              </a:rPr>
              <a:t>Medidores de energia para monitoramento à distanci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altLang="pt-BR" sz="2000" b="0" dirty="0">
                <a:solidFill>
                  <a:srgbClr val="004853"/>
                </a:solidFill>
              </a:rPr>
              <a:t>Impressão digital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pt-BR" altLang="pt-BR" sz="2000" b="0" dirty="0">
                <a:solidFill>
                  <a:srgbClr val="004853"/>
                </a:solidFill>
              </a:rPr>
              <a:t>Automação de processos industriais</a:t>
            </a:r>
          </a:p>
        </p:txBody>
      </p:sp>
    </p:spTree>
    <p:extLst>
      <p:ext uri="{BB962C8B-B14F-4D97-AF65-F5344CB8AC3E}">
        <p14:creationId xmlns:p14="http://schemas.microsoft.com/office/powerpoint/2010/main" val="73262470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495300" y="2571250"/>
            <a:ext cx="8915400" cy="303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just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Foi instalado, em paralelo com o reservatório existente, um segundo reservatório metálico tipo cilindro vertical, capacidade 1000 m</a:t>
            </a:r>
            <a:r>
              <a:rPr lang="pt-BR" sz="1800" baseline="300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3</a:t>
            </a: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para água potável. </a:t>
            </a:r>
          </a:p>
          <a:p>
            <a:pPr marL="0" indent="0" algn="just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pt-BR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marL="0" indent="0" algn="just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Instalado um sistema automatizado para garantir a parada do sistema no horário de ponta, bem como todos os controles necessários à otimização do uso do painel existente com vistas à conservação de energia.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581025" y="1575888"/>
            <a:ext cx="6572250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altLang="pt-BR" dirty="0">
                <a:solidFill>
                  <a:schemeClr val="tx2">
                    <a:lumMod val="50000"/>
                  </a:schemeClr>
                </a:solidFill>
                <a:latin typeface="Verdana" pitchFamily="34" charset="0"/>
              </a:rPr>
              <a:t>Dados do Projeto</a:t>
            </a:r>
          </a:p>
        </p:txBody>
      </p:sp>
      <p:sp>
        <p:nvSpPr>
          <p:cNvPr id="11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1812909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CaixaDeTexto 11"/>
          <p:cNvSpPr txBox="1">
            <a:spLocks noChangeArrowheads="1"/>
          </p:cNvSpPr>
          <p:nvPr/>
        </p:nvSpPr>
        <p:spPr bwMode="auto">
          <a:xfrm>
            <a:off x="2884038" y="1832405"/>
            <a:ext cx="1878463" cy="128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l" eaLnBrk="1" hangingPunct="1">
              <a:lnSpc>
                <a:spcPct val="150000"/>
              </a:lnSpc>
            </a:pPr>
            <a:r>
              <a:rPr lang="pt-BR" altLang="pt-BR" sz="1800" dirty="0">
                <a:solidFill>
                  <a:schemeClr val="tx2">
                    <a:lumMod val="50000"/>
                  </a:schemeClr>
                </a:solidFill>
              </a:rPr>
              <a:t>Reservatório em construção</a:t>
            </a:r>
          </a:p>
        </p:txBody>
      </p:sp>
      <p:sp>
        <p:nvSpPr>
          <p:cNvPr id="8" name="CaixaDeTexto 12"/>
          <p:cNvSpPr txBox="1">
            <a:spLocks noChangeArrowheads="1"/>
          </p:cNvSpPr>
          <p:nvPr/>
        </p:nvSpPr>
        <p:spPr bwMode="auto">
          <a:xfrm>
            <a:off x="7693926" y="2477844"/>
            <a:ext cx="1655763" cy="128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l" eaLnBrk="1" hangingPunct="1">
              <a:lnSpc>
                <a:spcPct val="150000"/>
              </a:lnSpc>
            </a:pPr>
            <a:r>
              <a:rPr lang="pt-BR" altLang="pt-BR" sz="1800" dirty="0">
                <a:solidFill>
                  <a:schemeClr val="tx2">
                    <a:lumMod val="50000"/>
                  </a:schemeClr>
                </a:solidFill>
              </a:rPr>
              <a:t>Novo reservatório</a:t>
            </a:r>
          </a:p>
        </p:txBody>
      </p:sp>
      <p:sp>
        <p:nvSpPr>
          <p:cNvPr id="11" name="CaixaDeTexto 13"/>
          <p:cNvSpPr txBox="1">
            <a:spLocks noChangeArrowheads="1"/>
          </p:cNvSpPr>
          <p:nvPr/>
        </p:nvSpPr>
        <p:spPr bwMode="auto">
          <a:xfrm>
            <a:off x="4740824" y="4810691"/>
            <a:ext cx="2228400" cy="128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l" eaLnBrk="1" hangingPunct="1">
              <a:lnSpc>
                <a:spcPct val="150000"/>
              </a:lnSpc>
            </a:pPr>
            <a:r>
              <a:rPr lang="pt-BR" altLang="pt-BR" sz="1800" dirty="0">
                <a:solidFill>
                  <a:schemeClr val="tx2">
                    <a:lumMod val="50000"/>
                  </a:schemeClr>
                </a:solidFill>
              </a:rPr>
              <a:t>Interligação entre os reservatórios</a:t>
            </a:r>
          </a:p>
        </p:txBody>
      </p:sp>
      <p:pic>
        <p:nvPicPr>
          <p:cNvPr id="12" name="Imagem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71" r="16561" b="8597"/>
          <a:stretch/>
        </p:blipFill>
        <p:spPr bwMode="auto">
          <a:xfrm>
            <a:off x="666750" y="1360728"/>
            <a:ext cx="2251076" cy="2329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m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432" y="3999284"/>
            <a:ext cx="3935230" cy="2171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Imagem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1" y="1360728"/>
            <a:ext cx="2683775" cy="3345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22215000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166316" y="1875562"/>
            <a:ext cx="7531100" cy="300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Investimento: R$ 753.211,00 </a:t>
            </a:r>
          </a:p>
          <a:p>
            <a:pPr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AutoNum type="arabicPeriod"/>
              <a:defRPr/>
            </a:pPr>
            <a:endParaRPr lang="pt-BR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marL="0" indent="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Energia economizada:  331,02 MWh/ano</a:t>
            </a:r>
          </a:p>
          <a:p>
            <a:pPr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AutoNum type="arabicPeriod"/>
              <a:defRPr/>
            </a:pPr>
            <a:endParaRPr lang="pt-BR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marL="0" indent="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Redução de demanda no horário de ponta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: </a:t>
            </a: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215,4 kW</a:t>
            </a:r>
          </a:p>
          <a:p>
            <a:pPr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AutoNum type="arabicPeriod"/>
              <a:defRPr/>
            </a:pP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marL="0" indent="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RCB 0,51</a:t>
            </a:r>
          </a:p>
          <a:p>
            <a:pPr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AutoNum type="arabicPeriod"/>
              <a:defRPr/>
            </a:pP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marL="0" indent="0" algn="l" ea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Payback</a:t>
            </a: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Simples: 60 meses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1166317" y="1238976"/>
            <a:ext cx="2490787" cy="636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altLang="pt-BR" dirty="0" err="1">
                <a:solidFill>
                  <a:schemeClr val="tx2">
                    <a:lumMod val="50000"/>
                  </a:schemeClr>
                </a:solidFill>
                <a:latin typeface="Verdana" pitchFamily="34" charset="0"/>
              </a:rPr>
              <a:t>Resultados</a:t>
            </a:r>
            <a:endParaRPr lang="en-US" altLang="pt-BR" dirty="0">
              <a:solidFill>
                <a:schemeClr val="tx2">
                  <a:lumMod val="50000"/>
                </a:schemeClr>
              </a:solidFill>
              <a:latin typeface="Verdana" pitchFamily="34" charset="0"/>
            </a:endParaRPr>
          </a:p>
        </p:txBody>
      </p:sp>
      <p:sp>
        <p:nvSpPr>
          <p:cNvPr id="11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161951840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500063" y="2188558"/>
            <a:ext cx="8815387" cy="300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just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Inaugurado em 2000, o complexo de Gravataí possui capacidade de até 63 unidades/h, sendo atualmente a maior da empresa no hemisfério Sul contando com 8.000 funcionários no processo produtivo.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500063" y="1108439"/>
            <a:ext cx="8815387" cy="96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pt-BR" altLang="pt-BR" dirty="0">
                <a:solidFill>
                  <a:schemeClr val="tx2">
                    <a:lumMod val="50000"/>
                  </a:schemeClr>
                </a:solidFill>
                <a:latin typeface="Verdana" pitchFamily="34" charset="0"/>
              </a:rPr>
              <a:t>Eficiência Energética em Sistema de Pintura e Iluminação na General Motors do Brasil</a:t>
            </a:r>
            <a:endParaRPr lang="en-US" altLang="pt-BR" dirty="0">
              <a:solidFill>
                <a:schemeClr val="tx2">
                  <a:lumMod val="50000"/>
                </a:schemeClr>
              </a:solidFill>
              <a:latin typeface="Verdana" pitchFamily="34" charset="0"/>
            </a:endParaRPr>
          </a:p>
        </p:txBody>
      </p:sp>
      <p:pic>
        <p:nvPicPr>
          <p:cNvPr id="11" name="Picture 2" descr="V:\INDUSTRIAL\GM_2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49" y="3971163"/>
            <a:ext cx="5861050" cy="2522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V:\INDUSTRIAL\GM_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613" y="3977513"/>
            <a:ext cx="3208337" cy="2509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25284429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538164" y="2262742"/>
            <a:ext cx="5938837" cy="269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Eficientização de 992 pontos de iluminação de 400 W vapor metálico para 250 W;</a:t>
            </a: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Substituiçã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secadores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model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FD 1200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por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1 novo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model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MD 1000 e de 2 FD 1600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por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2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novos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modelos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MD 1800.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Foi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também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desativad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o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secador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HED 2400 .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Foi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ainda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fornecid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o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paralelism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entre as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máquinas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nã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previst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inicialmente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.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685006" y="1405466"/>
            <a:ext cx="6572250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altLang="pt-BR" sz="3200" dirty="0" err="1">
                <a:solidFill>
                  <a:srgbClr val="004853"/>
                </a:solidFill>
                <a:latin typeface="+mn-lt"/>
                <a:ea typeface="+mn-ea"/>
              </a:rPr>
              <a:t>Ações</a:t>
            </a:r>
            <a:r>
              <a:rPr lang="en-US" altLang="pt-BR" sz="3200" dirty="0">
                <a:solidFill>
                  <a:srgbClr val="004853"/>
                </a:solidFill>
                <a:latin typeface="+mn-lt"/>
                <a:ea typeface="+mn-ea"/>
              </a:rPr>
              <a:t> do </a:t>
            </a:r>
            <a:r>
              <a:rPr lang="en-US" altLang="pt-BR" sz="3200" dirty="0" err="1">
                <a:solidFill>
                  <a:srgbClr val="004853"/>
                </a:solidFill>
                <a:latin typeface="+mn-lt"/>
                <a:ea typeface="+mn-ea"/>
              </a:rPr>
              <a:t>Projeto</a:t>
            </a:r>
            <a:endParaRPr lang="en-US" altLang="pt-BR" sz="3200" dirty="0">
              <a:solidFill>
                <a:srgbClr val="004853"/>
              </a:solidFill>
              <a:latin typeface="+mn-lt"/>
              <a:ea typeface="+mn-ea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26" t="22870" r="34537" b="23259"/>
          <a:stretch>
            <a:fillRect/>
          </a:stretch>
        </p:blipFill>
        <p:spPr bwMode="auto">
          <a:xfrm>
            <a:off x="6897216" y="1318117"/>
            <a:ext cx="2082800" cy="2579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5" t="39371" r="48624" b="29224"/>
          <a:stretch>
            <a:fillRect/>
          </a:stretch>
        </p:blipFill>
        <p:spPr bwMode="auto">
          <a:xfrm>
            <a:off x="7110413" y="4038787"/>
            <a:ext cx="1828800" cy="2414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35709464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022300" y="2399787"/>
            <a:ext cx="7531100" cy="300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Investiment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R$ 376.684,55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Energia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economizada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681,38 MWh/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ano</a:t>
            </a: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Reduçã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demanda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no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horári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ponta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78,86 kW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RCB 0,584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Payback</a:t>
            </a: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Simples: 19 meses ref. A4 (2,3 kV a 25 kV) da RGE</a:t>
            </a: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algn="l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1022300" y="1467926"/>
            <a:ext cx="6572250" cy="96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/>
            <a:r>
              <a:rPr lang="en-US" altLang="pt-BR" sz="3200" dirty="0" err="1">
                <a:solidFill>
                  <a:srgbClr val="004853"/>
                </a:solidFill>
                <a:latin typeface="+mn-lt"/>
                <a:ea typeface="+mn-ea"/>
              </a:rPr>
              <a:t>Resultados</a:t>
            </a:r>
            <a:r>
              <a:rPr lang="en-US" altLang="pt-BR" sz="3200" dirty="0">
                <a:solidFill>
                  <a:srgbClr val="004853"/>
                </a:solidFill>
                <a:latin typeface="+mn-lt"/>
                <a:ea typeface="+mn-ea"/>
              </a:rPr>
              <a:t> (</a:t>
            </a:r>
            <a:r>
              <a:rPr lang="en-US" altLang="pt-BR" sz="3200" dirty="0" err="1">
                <a:solidFill>
                  <a:srgbClr val="004853"/>
                </a:solidFill>
                <a:latin typeface="+mn-lt"/>
                <a:ea typeface="+mn-ea"/>
              </a:rPr>
              <a:t>Iluminação</a:t>
            </a:r>
            <a:r>
              <a:rPr lang="en-US" altLang="pt-BR" sz="3200" dirty="0">
                <a:solidFill>
                  <a:srgbClr val="004853"/>
                </a:solidFill>
                <a:latin typeface="+mn-lt"/>
                <a:ea typeface="+mn-ea"/>
              </a:rPr>
              <a:t>)</a:t>
            </a:r>
          </a:p>
        </p:txBody>
      </p:sp>
      <p:sp>
        <p:nvSpPr>
          <p:cNvPr id="11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185691440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1022300" y="1363836"/>
            <a:ext cx="6572250" cy="96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altLang="pt-BR" sz="3200" dirty="0" err="1">
                <a:solidFill>
                  <a:srgbClr val="004853"/>
                </a:solidFill>
                <a:latin typeface="+mn-lt"/>
                <a:ea typeface="+mn-ea"/>
              </a:rPr>
              <a:t>Resultados</a:t>
            </a:r>
            <a:r>
              <a:rPr lang="en-US" altLang="pt-BR" sz="3200" dirty="0">
                <a:solidFill>
                  <a:srgbClr val="004853"/>
                </a:solidFill>
                <a:latin typeface="+mn-lt"/>
                <a:ea typeface="+mn-ea"/>
              </a:rPr>
              <a:t> (</a:t>
            </a:r>
            <a:r>
              <a:rPr lang="en-US" altLang="pt-BR" sz="3200" dirty="0" err="1">
                <a:solidFill>
                  <a:srgbClr val="004853"/>
                </a:solidFill>
                <a:latin typeface="+mn-lt"/>
                <a:ea typeface="+mn-ea"/>
              </a:rPr>
              <a:t>Secadores</a:t>
            </a:r>
            <a:r>
              <a:rPr lang="en-US" altLang="pt-BR" sz="3200" dirty="0">
                <a:solidFill>
                  <a:srgbClr val="004853"/>
                </a:solidFill>
                <a:latin typeface="+mn-lt"/>
                <a:ea typeface="+mn-ea"/>
              </a:rPr>
              <a:t>)</a:t>
            </a:r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1166316" y="2319137"/>
            <a:ext cx="7531100" cy="300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Investiment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R$ 1.103.850,55;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Energia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economizada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1.823,78 MWh/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an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;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Reduçã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demanda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no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horári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ponta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212,54 kW;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RCB 0,390.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Payback</a:t>
            </a: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Simples: 21 meses ref. A4 (2,3 kV a 25 kV) da RGE</a:t>
            </a: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algn="l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</p:txBody>
      </p:sp>
      <p:sp>
        <p:nvSpPr>
          <p:cNvPr id="13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329460398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4188842" y="2679275"/>
            <a:ext cx="5300662" cy="413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A Pirelli é uma multinacional italiana consagrada na indústria de pneus, inaugurada em 1976, contando atualmente com aproximadamente 1400 funcionários. A Unidade Gravataí, tornou-se a maior fábrica de pneus de moto de todo o Grupo. </a:t>
            </a:r>
          </a:p>
          <a:p>
            <a:pPr algn="l">
              <a:lnSpc>
                <a:spcPct val="150000"/>
              </a:lnSpc>
              <a:defRPr/>
            </a:pPr>
            <a:endParaRPr lang="pt-BR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algn="l">
              <a:lnSpc>
                <a:spcPct val="150000"/>
              </a:lnSpc>
              <a:defRPr/>
            </a:pP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	</a:t>
            </a:r>
          </a:p>
        </p:txBody>
      </p:sp>
      <p:sp>
        <p:nvSpPr>
          <p:cNvPr id="17" name="Rectangle 2"/>
          <p:cNvSpPr txBox="1">
            <a:spLocks noChangeArrowheads="1"/>
          </p:cNvSpPr>
          <p:nvPr/>
        </p:nvSpPr>
        <p:spPr bwMode="auto">
          <a:xfrm>
            <a:off x="576264" y="1235642"/>
            <a:ext cx="8815387" cy="96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pt-BR" altLang="pt-BR" sz="3200" dirty="0">
                <a:solidFill>
                  <a:srgbClr val="004853"/>
                </a:solidFill>
                <a:latin typeface="+mn-lt"/>
                <a:ea typeface="+mn-ea"/>
              </a:rPr>
              <a:t>Eficiência Energética em Sistema de Ar Comprimido e Iluminação na Pirelli Pneus SA</a:t>
            </a:r>
            <a:endParaRPr lang="en-US" altLang="pt-BR" sz="3200" dirty="0">
              <a:solidFill>
                <a:srgbClr val="004853"/>
              </a:solidFill>
              <a:latin typeface="+mn-lt"/>
              <a:ea typeface="+mn-ea"/>
            </a:endParaRPr>
          </a:p>
        </p:txBody>
      </p:sp>
      <p:pic>
        <p:nvPicPr>
          <p:cNvPr id="18" name="Picture 2" descr="V:\INDUSTRIAL\10495839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528" y="2695150"/>
            <a:ext cx="3430134" cy="286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198512522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315625" y="1871200"/>
            <a:ext cx="4626952" cy="419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Eficientização de 4.526 pontos de iluminação (lâmpadas VASP 70W e 150W e LF);</a:t>
            </a: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Substituiçã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3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compressores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GA160200VSD, GA90200VSD e ZR315VSD;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Substituiçã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1.010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pontos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iluminaçã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(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fluorescente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110 W e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mista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160 W e 250 W).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625475" y="1266558"/>
            <a:ext cx="6572250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altLang="pt-BR" sz="3200" dirty="0" err="1">
                <a:solidFill>
                  <a:srgbClr val="004853"/>
                </a:solidFill>
                <a:latin typeface="+mn-lt"/>
                <a:ea typeface="+mn-ea"/>
              </a:rPr>
              <a:t>Ações</a:t>
            </a:r>
            <a:r>
              <a:rPr lang="en-US" altLang="pt-BR" sz="3200" dirty="0">
                <a:solidFill>
                  <a:srgbClr val="004853"/>
                </a:solidFill>
                <a:latin typeface="+mn-lt"/>
                <a:ea typeface="+mn-ea"/>
              </a:rPr>
              <a:t> do </a:t>
            </a:r>
            <a:r>
              <a:rPr lang="en-US" altLang="pt-BR" sz="3200" dirty="0" err="1">
                <a:solidFill>
                  <a:srgbClr val="004853"/>
                </a:solidFill>
                <a:latin typeface="+mn-lt"/>
                <a:ea typeface="+mn-ea"/>
              </a:rPr>
              <a:t>Projeto</a:t>
            </a:r>
            <a:endParaRPr lang="en-US" altLang="pt-BR" sz="3200" dirty="0">
              <a:solidFill>
                <a:srgbClr val="004853"/>
              </a:solidFill>
              <a:latin typeface="+mn-lt"/>
              <a:ea typeface="+mn-ea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78" t="24519" r="48441" b="35307"/>
          <a:stretch>
            <a:fillRect/>
          </a:stretch>
        </p:blipFill>
        <p:spPr bwMode="auto">
          <a:xfrm>
            <a:off x="4831657" y="3968287"/>
            <a:ext cx="2633069" cy="2243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56" t="30585" r="33752" b="30759"/>
          <a:stretch>
            <a:fillRect/>
          </a:stretch>
        </p:blipFill>
        <p:spPr bwMode="auto">
          <a:xfrm>
            <a:off x="6922312" y="3041457"/>
            <a:ext cx="2869688" cy="231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59" t="24519" r="18961" b="35307"/>
          <a:stretch>
            <a:fillRect/>
          </a:stretch>
        </p:blipFill>
        <p:spPr bwMode="auto">
          <a:xfrm>
            <a:off x="5189464" y="1401891"/>
            <a:ext cx="2666954" cy="231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404179043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238324" y="2278812"/>
            <a:ext cx="7531100" cy="300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Investiment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R$ 960.302,86;</a:t>
            </a:r>
          </a:p>
          <a:p>
            <a:pPr algn="l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marL="0" indent="0" algn="l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Energia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economizada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1.398,17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MWh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/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an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;</a:t>
            </a:r>
          </a:p>
          <a:p>
            <a:pPr algn="l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marL="0" indent="0" algn="l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Reduçã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demanda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no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horári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ponta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177,53 kW;</a:t>
            </a:r>
          </a:p>
          <a:p>
            <a:pPr algn="l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marL="0" indent="0" algn="l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RCB 0,451.</a:t>
            </a:r>
          </a:p>
          <a:p>
            <a:pPr algn="l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marL="0" indent="0" algn="l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Payback</a:t>
            </a: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Simples: 25 meses ref. A4 (2,3 kV a 25 kV) da RGE</a:t>
            </a: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algn="l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1238324" y="1346951"/>
            <a:ext cx="6572250" cy="96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/>
            <a:r>
              <a:rPr lang="en-US" altLang="pt-BR" sz="3200" dirty="0" err="1">
                <a:solidFill>
                  <a:srgbClr val="004853"/>
                </a:solidFill>
                <a:latin typeface="+mn-lt"/>
                <a:ea typeface="+mn-ea"/>
              </a:rPr>
              <a:t>Resultados</a:t>
            </a:r>
            <a:r>
              <a:rPr lang="en-US" altLang="pt-BR" sz="3200" dirty="0">
                <a:solidFill>
                  <a:srgbClr val="004853"/>
                </a:solidFill>
                <a:latin typeface="+mn-lt"/>
                <a:ea typeface="+mn-ea"/>
              </a:rPr>
              <a:t> (</a:t>
            </a:r>
            <a:r>
              <a:rPr lang="en-US" altLang="pt-BR" sz="3200" dirty="0" err="1">
                <a:solidFill>
                  <a:srgbClr val="004853"/>
                </a:solidFill>
                <a:latin typeface="+mn-lt"/>
                <a:ea typeface="+mn-ea"/>
              </a:rPr>
              <a:t>Iluminação</a:t>
            </a:r>
            <a:r>
              <a:rPr lang="en-US" altLang="pt-BR" sz="3200" dirty="0">
                <a:solidFill>
                  <a:srgbClr val="004853"/>
                </a:solidFill>
                <a:latin typeface="+mn-lt"/>
                <a:ea typeface="+mn-ea"/>
              </a:rPr>
              <a:t>)</a:t>
            </a:r>
          </a:p>
        </p:txBody>
      </p:sp>
      <p:sp>
        <p:nvSpPr>
          <p:cNvPr id="11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426460795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 noChangeArrowheads="1"/>
          </p:cNvSpPr>
          <p:nvPr/>
        </p:nvSpPr>
        <p:spPr>
          <a:xfrm>
            <a:off x="995363" y="1497717"/>
            <a:ext cx="6572250" cy="966788"/>
          </a:xfrm>
          <a:prstGeom prst="rect">
            <a:avLst/>
          </a:prstGeom>
        </p:spPr>
        <p:txBody>
          <a:bodyPr>
            <a:norm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 eaLnBrk="1" hangingPunct="1">
              <a:defRPr/>
            </a:pPr>
            <a:r>
              <a:rPr lang="en-US" sz="32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Eficiência</a:t>
            </a:r>
            <a:r>
              <a:rPr lang="en-US" sz="32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32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Energética</a:t>
            </a:r>
            <a:endParaRPr lang="en-US" sz="3200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1064135" y="5741637"/>
            <a:ext cx="1786934" cy="3488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pt-BR" sz="800" dirty="0">
                <a:solidFill>
                  <a:schemeClr val="tx1">
                    <a:lumMod val="50000"/>
                    <a:lumOff val="50000"/>
                  </a:schemeClr>
                </a:solidFill>
                <a:ea typeface="Verdana" pitchFamily="34" charset="0"/>
                <a:cs typeface="Verdana" pitchFamily="34" charset="0"/>
              </a:rPr>
              <a:t>Fonte: ABESCO | 2014</a:t>
            </a:r>
            <a:endParaRPr lang="pt-BR" sz="800" dirty="0"/>
          </a:p>
        </p:txBody>
      </p:sp>
      <p:sp>
        <p:nvSpPr>
          <p:cNvPr id="17414" name="Rectangle 3"/>
          <p:cNvSpPr txBox="1">
            <a:spLocks noChangeArrowheads="1"/>
          </p:cNvSpPr>
          <p:nvPr/>
        </p:nvSpPr>
        <p:spPr bwMode="auto">
          <a:xfrm>
            <a:off x="995363" y="2559242"/>
            <a:ext cx="7918077" cy="300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”Com Eficiência Energética 1MWh custa metade do preço se comparado</a:t>
            </a:r>
          </a:p>
          <a:p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à qualquer fonte de geração de energia elétrica.”</a:t>
            </a:r>
          </a:p>
          <a:p>
            <a:endParaRPr lang="pt-BR" sz="16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endParaRPr lang="pt-BR" sz="16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0" indent="0" algn="l">
              <a:tabLst>
                <a:tab pos="0" algn="l"/>
              </a:tabLst>
            </a:pPr>
            <a:endParaRPr lang="pt-BR" sz="11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  <a:tabLst>
                <a:tab pos="0" algn="l"/>
              </a:tabLst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Economizar 1MWh a partir da EE          R$ 60</a:t>
            </a:r>
          </a:p>
          <a:p>
            <a:pPr marL="285750" indent="-285750" algn="l">
              <a:buFont typeface="Arial" panose="020B0604020202020204" pitchFamily="34" charset="0"/>
              <a:buChar char="•"/>
              <a:tabLst>
                <a:tab pos="0" algn="l"/>
              </a:tabLst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Gerar 1 </a:t>
            </a:r>
            <a:r>
              <a:rPr lang="pt-BR" sz="20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MWh</a:t>
            </a: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 hidráulico          R$ 120</a:t>
            </a:r>
          </a:p>
          <a:p>
            <a:pPr marL="285750" indent="-285750" algn="l">
              <a:buFont typeface="Arial" panose="020B0604020202020204" pitchFamily="34" charset="0"/>
              <a:buChar char="•"/>
              <a:tabLst>
                <a:tab pos="0" algn="l"/>
              </a:tabLst>
            </a:pPr>
            <a:endParaRPr lang="pt-BR" sz="2000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  <a:p>
            <a:pPr marL="285750" indent="-285750" algn="l">
              <a:buFont typeface="Arial" panose="020B0604020202020204" pitchFamily="34" charset="0"/>
              <a:buChar char="•"/>
              <a:tabLst>
                <a:tab pos="0" algn="l"/>
              </a:tabLst>
            </a:pPr>
            <a:r>
              <a:rPr lang="pt-BR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Implantação </a:t>
            </a:r>
            <a:endParaRPr lang="en-US" sz="2000" dirty="0">
              <a:solidFill>
                <a:srgbClr val="004853"/>
              </a:solidFill>
              <a:latin typeface="+mn-lt"/>
              <a:ea typeface="+mn-ea"/>
              <a:cs typeface="+mn-cs"/>
            </a:endParaRPr>
          </a:p>
          <a:p>
            <a:pPr marL="0" indent="0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20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 </a:t>
            </a:r>
          </a:p>
        </p:txBody>
      </p:sp>
      <p:cxnSp>
        <p:nvCxnSpPr>
          <p:cNvPr id="8" name="Conector de seta reta 7"/>
          <p:cNvCxnSpPr/>
          <p:nvPr/>
        </p:nvCxnSpPr>
        <p:spPr>
          <a:xfrm>
            <a:off x="4849146" y="4056891"/>
            <a:ext cx="391886" cy="0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Conector de seta reta 10"/>
          <p:cNvCxnSpPr/>
          <p:nvPr/>
        </p:nvCxnSpPr>
        <p:spPr>
          <a:xfrm>
            <a:off x="3944888" y="4344923"/>
            <a:ext cx="391886" cy="0"/>
          </a:xfrm>
          <a:prstGeom prst="straightConnector1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/>
          <p:nvPr/>
        </p:nvCxnSpPr>
        <p:spPr>
          <a:xfrm>
            <a:off x="2936777" y="4632956"/>
            <a:ext cx="1" cy="931425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/>
          <p:cNvSpPr txBox="1"/>
          <p:nvPr/>
        </p:nvSpPr>
        <p:spPr>
          <a:xfrm>
            <a:off x="3031514" y="4617927"/>
            <a:ext cx="398698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pt-BR" sz="2000" dirty="0" err="1">
                <a:solidFill>
                  <a:srgbClr val="004853"/>
                </a:solidFill>
              </a:rPr>
              <a:t>Efic</a:t>
            </a:r>
            <a:r>
              <a:rPr lang="pt-BR" sz="2000" dirty="0">
                <a:solidFill>
                  <a:srgbClr val="004853"/>
                </a:solidFill>
              </a:rPr>
              <a:t> = 0,9 </a:t>
            </a:r>
            <a:r>
              <a:rPr lang="pt-BR" sz="2000" dirty="0" smtClean="0">
                <a:solidFill>
                  <a:srgbClr val="004853"/>
                </a:solidFill>
              </a:rPr>
              <a:t>MR$/MW</a:t>
            </a:r>
          </a:p>
          <a:p>
            <a:pPr algn="l"/>
            <a:endParaRPr lang="pt-BR" sz="2000" dirty="0" smtClean="0">
              <a:solidFill>
                <a:srgbClr val="004853"/>
              </a:solidFill>
            </a:endParaRPr>
          </a:p>
          <a:p>
            <a:pPr algn="l"/>
            <a:r>
              <a:rPr lang="pt-BR" sz="2000" dirty="0" smtClean="0">
                <a:solidFill>
                  <a:srgbClr val="004853"/>
                </a:solidFill>
              </a:rPr>
              <a:t>Belo Monte = 1,7MR$/MW</a:t>
            </a:r>
            <a:endParaRPr lang="pt-BR" sz="2000" dirty="0">
              <a:solidFill>
                <a:srgbClr val="004853"/>
              </a:solidFill>
            </a:endParaRPr>
          </a:p>
        </p:txBody>
      </p:sp>
      <p:sp>
        <p:nvSpPr>
          <p:cNvPr id="18" name="Retângulo de cantos arredondados 17"/>
          <p:cNvSpPr/>
          <p:nvPr/>
        </p:nvSpPr>
        <p:spPr>
          <a:xfrm>
            <a:off x="920554" y="3494218"/>
            <a:ext cx="6192686" cy="2247418"/>
          </a:xfrm>
          <a:prstGeom prst="roundRect">
            <a:avLst>
              <a:gd name="adj" fmla="val 6169"/>
            </a:avLst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6969651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1238324" y="1354095"/>
            <a:ext cx="6572250" cy="96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altLang="pt-BR" sz="3200" dirty="0" err="1">
                <a:solidFill>
                  <a:srgbClr val="004853"/>
                </a:solidFill>
                <a:latin typeface="+mn-lt"/>
                <a:ea typeface="+mn-ea"/>
              </a:rPr>
              <a:t>Resultados</a:t>
            </a:r>
            <a:r>
              <a:rPr lang="en-US" altLang="pt-BR" sz="3200" dirty="0">
                <a:solidFill>
                  <a:srgbClr val="004853"/>
                </a:solidFill>
                <a:latin typeface="+mn-lt"/>
                <a:ea typeface="+mn-ea"/>
              </a:rPr>
              <a:t> (</a:t>
            </a:r>
            <a:r>
              <a:rPr lang="en-US" altLang="pt-BR" sz="3200" dirty="0" err="1">
                <a:solidFill>
                  <a:srgbClr val="004853"/>
                </a:solidFill>
                <a:latin typeface="+mn-lt"/>
                <a:ea typeface="+mn-ea"/>
              </a:rPr>
              <a:t>Compressores</a:t>
            </a:r>
            <a:r>
              <a:rPr lang="en-US" altLang="pt-BR" sz="3200" dirty="0">
                <a:solidFill>
                  <a:srgbClr val="004853"/>
                </a:solidFill>
                <a:latin typeface="+mn-lt"/>
                <a:ea typeface="+mn-ea"/>
              </a:rPr>
              <a:t>)</a:t>
            </a: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1238324" y="2278812"/>
            <a:ext cx="7531100" cy="300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Investiment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R$ 1.346.379,58;</a:t>
            </a:r>
          </a:p>
          <a:p>
            <a:pPr algn="l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marL="0" indent="0" algn="l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Energia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economizada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1.980,97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MWh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/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an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;</a:t>
            </a:r>
          </a:p>
          <a:p>
            <a:pPr algn="l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marL="0" indent="0" algn="l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Reduçã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demanda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no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horári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ponta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237,87 kW;</a:t>
            </a:r>
          </a:p>
          <a:p>
            <a:pPr algn="l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marL="0" indent="0" algn="l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RCB 0,390.</a:t>
            </a:r>
          </a:p>
          <a:p>
            <a:pPr algn="l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marL="0" indent="0" algn="l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Payback</a:t>
            </a: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Simples: 24 meses ref. A4 (2,3 kV a 25 kV) da RGE</a:t>
            </a: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algn="l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</p:txBody>
      </p:sp>
      <p:sp>
        <p:nvSpPr>
          <p:cNvPr id="11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108795522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4154488" y="2622500"/>
            <a:ext cx="5300662" cy="3517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just">
              <a:lnSpc>
                <a:spcPct val="150000"/>
              </a:lnSpc>
              <a:defRPr/>
            </a:pPr>
            <a:r>
              <a:rPr lang="pt-BR" sz="14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	A Companhia </a:t>
            </a:r>
            <a:r>
              <a:rPr lang="pt-BR" sz="14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Riograndense</a:t>
            </a:r>
            <a:r>
              <a:rPr lang="pt-BR" sz="14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Saneamento (CORSAN) foi criada em 21 de dezembro de 1965. Atualmente abastece mais de 7 milhões de gaúchos.</a:t>
            </a:r>
          </a:p>
          <a:p>
            <a:pPr algn="just">
              <a:lnSpc>
                <a:spcPct val="150000"/>
              </a:lnSpc>
              <a:defRPr/>
            </a:pPr>
            <a:r>
              <a:rPr lang="pt-BR" sz="14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	O sistema é composto por dois conjuntos </a:t>
            </a:r>
            <a:r>
              <a:rPr lang="pt-BR" sz="14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motobomba</a:t>
            </a:r>
            <a:r>
              <a:rPr lang="pt-BR" sz="14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200 </a:t>
            </a:r>
            <a:r>
              <a:rPr lang="pt-BR" sz="14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cv</a:t>
            </a:r>
            <a:r>
              <a:rPr lang="pt-BR" sz="14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, funcionando em paralelo. Este sistema envia água a uma média de 380 litros/s para a ETA, que possui três reservatórios com capacidade total de 2.100 m³. 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615951" y="1116141"/>
            <a:ext cx="8815387" cy="96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pt-BR" altLang="pt-BR" sz="3200" dirty="0">
                <a:solidFill>
                  <a:srgbClr val="004853"/>
                </a:solidFill>
                <a:latin typeface="+mn-lt"/>
                <a:ea typeface="+mn-ea"/>
              </a:rPr>
              <a:t>Eficiência Energética no Sistema de Abastecimento da CORSAN Bento Gonçalves</a:t>
            </a:r>
            <a:endParaRPr lang="en-US" altLang="pt-BR" sz="3200" dirty="0">
              <a:solidFill>
                <a:srgbClr val="004853"/>
              </a:solidFill>
              <a:latin typeface="+mn-lt"/>
              <a:ea typeface="+mn-ea"/>
            </a:endParaRPr>
          </a:p>
        </p:txBody>
      </p:sp>
      <p:pic>
        <p:nvPicPr>
          <p:cNvPr id="11" name="Picture 2" descr="V:\INDUSTRIAL\corsa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301" y="2700316"/>
            <a:ext cx="3493661" cy="3052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30851911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576264" y="2254925"/>
            <a:ext cx="8696325" cy="181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6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Substituição da bomba modelo 6LN-18 por uma </a:t>
            </a:r>
            <a:r>
              <a:rPr lang="pt-BR" sz="16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Meganorm</a:t>
            </a:r>
            <a:r>
              <a:rPr lang="pt-BR" sz="16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150-400;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6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Substituição de um motor standard de 200 </a:t>
            </a:r>
            <a:r>
              <a:rPr lang="pt-BR" sz="16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cv</a:t>
            </a:r>
            <a:r>
              <a:rPr lang="pt-BR" sz="16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por um W22 Premium de 175 </a:t>
            </a:r>
            <a:r>
              <a:rPr lang="pt-BR" sz="16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cv</a:t>
            </a:r>
            <a:r>
              <a:rPr lang="pt-BR" sz="16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, WEG;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6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Instalação de inversor de frequência, modelo CFW 11 de 175 </a:t>
            </a:r>
            <a:r>
              <a:rPr lang="pt-BR" sz="16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cv</a:t>
            </a:r>
            <a:r>
              <a:rPr lang="pt-BR" sz="16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;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6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Fornecimento e instalação de seis válvulas redutoras de pressão (VRP);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6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Monitoramento realizado através do sistema de telemetria existente, onde são transmitidas as grandezas elétricas e hidráulicas da EBA 3S, bem como as pressões a jusante e a montante das válvulas redutoras de pressão.</a:t>
            </a:r>
            <a:endParaRPr lang="en-US" sz="16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757014" y="1409903"/>
            <a:ext cx="6572250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altLang="pt-BR" sz="3200" dirty="0" err="1">
                <a:solidFill>
                  <a:srgbClr val="004853"/>
                </a:solidFill>
                <a:latin typeface="+mn-lt"/>
                <a:ea typeface="+mn-ea"/>
              </a:rPr>
              <a:t>Ações</a:t>
            </a:r>
            <a:r>
              <a:rPr lang="en-US" altLang="pt-BR" sz="3200" dirty="0">
                <a:solidFill>
                  <a:srgbClr val="004853"/>
                </a:solidFill>
                <a:latin typeface="+mn-lt"/>
                <a:ea typeface="+mn-ea"/>
              </a:rPr>
              <a:t> do Projeto</a:t>
            </a:r>
          </a:p>
        </p:txBody>
      </p:sp>
      <p:sp>
        <p:nvSpPr>
          <p:cNvPr id="11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2798220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"/>
          <p:cNvSpPr txBox="1"/>
          <p:nvPr/>
        </p:nvSpPr>
        <p:spPr>
          <a:xfrm>
            <a:off x="4211480" y="3651993"/>
            <a:ext cx="885597" cy="465593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idencial/industria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4864570" y="3231148"/>
            <a:ext cx="661755" cy="324529"/>
          </a:xfrm>
          <a:prstGeom prst="rect">
            <a:avLst/>
          </a:prstGeom>
          <a:noFill/>
        </p:spPr>
        <p:txBody>
          <a:bodyPr wrap="square" lIns="0" tIns="0" rIns="0" bIns="41990" rtlCol="0">
            <a:spAutoFit/>
          </a:bodyPr>
          <a:lstStyle/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ROCEL</a:t>
            </a:r>
          </a:p>
          <a:p>
            <a:pPr algn="ctr" defTabSz="914296">
              <a:lnSpc>
                <a:spcPts val="1102"/>
              </a:lnSpc>
            </a:pPr>
            <a:r>
              <a:rPr lang="en-US" altLang="zh-CN" sz="1100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0%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166316" y="2399787"/>
            <a:ext cx="7531100" cy="300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Investiment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R$ </a:t>
            </a: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493.252,33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;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Energia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economizada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</a:t>
            </a: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532,01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MWh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/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an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;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Reduçã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demanda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no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horário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</a:t>
            </a:r>
            <a:r>
              <a:rPr lang="en-US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ponta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de 57,09 kW;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RCB 0,57</a:t>
            </a: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marL="0" indent="0"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pt-BR" sz="1800" dirty="0" err="1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Payback</a:t>
            </a:r>
            <a:r>
              <a:rPr lang="pt-BR" sz="1800" dirty="0">
                <a:solidFill>
                  <a:schemeClr val="tx2">
                    <a:lumMod val="50000"/>
                  </a:schemeClr>
                </a:solidFill>
                <a:latin typeface="Verdana" charset="0"/>
                <a:cs typeface="Verdana" charset="0"/>
              </a:rPr>
              <a:t> Simples: 33 meses ref. A4 (2,3 kV a 25 kV) da RGE</a:t>
            </a: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  <a:p>
            <a:pPr algn="l" eaLnBrk="1" hangingPunct="1">
              <a:lnSpc>
                <a:spcPct val="150000"/>
              </a:lnSpc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endParaRPr lang="en-US" sz="1800" dirty="0">
              <a:solidFill>
                <a:schemeClr val="tx2">
                  <a:lumMod val="50000"/>
                </a:schemeClr>
              </a:solidFill>
              <a:latin typeface="Verdana" charset="0"/>
              <a:cs typeface="Verdana" charset="0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1166316" y="1467926"/>
            <a:ext cx="6572250" cy="966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733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305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877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4925" indent="-187325" defTabSz="5032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l"/>
            <a:r>
              <a:rPr lang="en-US" altLang="pt-BR" sz="3200" dirty="0" err="1">
                <a:solidFill>
                  <a:srgbClr val="004853"/>
                </a:solidFill>
                <a:latin typeface="+mn-lt"/>
                <a:ea typeface="+mn-ea"/>
              </a:rPr>
              <a:t>Resultados</a:t>
            </a:r>
            <a:endParaRPr lang="en-US" altLang="pt-BR" sz="3200" dirty="0">
              <a:solidFill>
                <a:srgbClr val="004853"/>
              </a:solidFill>
              <a:latin typeface="+mn-lt"/>
              <a:ea typeface="+mn-ea"/>
            </a:endParaRPr>
          </a:p>
        </p:txBody>
      </p:sp>
      <p:sp>
        <p:nvSpPr>
          <p:cNvPr id="11" name="Título 2"/>
          <p:cNvSpPr>
            <a:spLocks noGrp="1"/>
          </p:cNvSpPr>
          <p:nvPr>
            <p:ph type="title"/>
          </p:nvPr>
        </p:nvSpPr>
        <p:spPr>
          <a:xfrm>
            <a:off x="355949" y="1"/>
            <a:ext cx="8225745" cy="888524"/>
          </a:xfrm>
        </p:spPr>
        <p:txBody>
          <a:bodyPr/>
          <a:lstStyle/>
          <a:p>
            <a:r>
              <a:rPr lang="pt-BR" dirty="0"/>
              <a:t>Principais Projetos Implementados</a:t>
            </a:r>
          </a:p>
        </p:txBody>
      </p:sp>
    </p:spTree>
    <p:extLst>
      <p:ext uri="{BB962C8B-B14F-4D97-AF65-F5344CB8AC3E}">
        <p14:creationId xmlns:p14="http://schemas.microsoft.com/office/powerpoint/2010/main" val="317579080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2"/>
          <p:cNvSpPr/>
          <p:nvPr/>
        </p:nvSpPr>
        <p:spPr>
          <a:xfrm>
            <a:off x="0" y="-27385"/>
            <a:ext cx="9906000" cy="1399809"/>
          </a:xfrm>
          <a:custGeom>
            <a:avLst/>
            <a:gdLst/>
            <a:ahLst/>
            <a:cxnLst/>
            <a:rect l="l" t="t" r="r" b="b"/>
            <a:pathLst>
              <a:path w="9144000" h="1005840">
                <a:moveTo>
                  <a:pt x="9143790" y="0"/>
                </a:moveTo>
                <a:lnTo>
                  <a:pt x="0" y="0"/>
                </a:lnTo>
                <a:lnTo>
                  <a:pt x="0" y="726040"/>
                </a:lnTo>
                <a:lnTo>
                  <a:pt x="7808151" y="726422"/>
                </a:lnTo>
                <a:lnTo>
                  <a:pt x="7860569" y="727566"/>
                </a:lnTo>
                <a:lnTo>
                  <a:pt x="7912837" y="729465"/>
                </a:lnTo>
                <a:lnTo>
                  <a:pt x="7964949" y="732115"/>
                </a:lnTo>
                <a:lnTo>
                  <a:pt x="8016894" y="735510"/>
                </a:lnTo>
                <a:lnTo>
                  <a:pt x="8068665" y="739643"/>
                </a:lnTo>
                <a:lnTo>
                  <a:pt x="8120254" y="744511"/>
                </a:lnTo>
                <a:lnTo>
                  <a:pt x="8171652" y="750107"/>
                </a:lnTo>
                <a:lnTo>
                  <a:pt x="8222850" y="756426"/>
                </a:lnTo>
                <a:lnTo>
                  <a:pt x="8273842" y="763462"/>
                </a:lnTo>
                <a:lnTo>
                  <a:pt x="8324617" y="771210"/>
                </a:lnTo>
                <a:lnTo>
                  <a:pt x="8375168" y="779665"/>
                </a:lnTo>
                <a:lnTo>
                  <a:pt x="8425487" y="788820"/>
                </a:lnTo>
                <a:lnTo>
                  <a:pt x="8475565" y="798671"/>
                </a:lnTo>
                <a:lnTo>
                  <a:pt x="8525394" y="809212"/>
                </a:lnTo>
                <a:lnTo>
                  <a:pt x="8574966" y="820438"/>
                </a:lnTo>
                <a:lnTo>
                  <a:pt x="8624272" y="832342"/>
                </a:lnTo>
                <a:lnTo>
                  <a:pt x="8673304" y="844920"/>
                </a:lnTo>
                <a:lnTo>
                  <a:pt x="8722053" y="858166"/>
                </a:lnTo>
                <a:lnTo>
                  <a:pt x="8770512" y="872075"/>
                </a:lnTo>
                <a:lnTo>
                  <a:pt x="8818672" y="886641"/>
                </a:lnTo>
                <a:lnTo>
                  <a:pt x="8866524" y="901858"/>
                </a:lnTo>
                <a:lnTo>
                  <a:pt x="8914061" y="917722"/>
                </a:lnTo>
                <a:lnTo>
                  <a:pt x="8961274" y="934226"/>
                </a:lnTo>
                <a:lnTo>
                  <a:pt x="9008155" y="951365"/>
                </a:lnTo>
                <a:lnTo>
                  <a:pt x="9054695" y="969134"/>
                </a:lnTo>
                <a:lnTo>
                  <a:pt x="9100886" y="987528"/>
                </a:lnTo>
                <a:lnTo>
                  <a:pt x="9143790" y="1005324"/>
                </a:lnTo>
                <a:lnTo>
                  <a:pt x="9143790" y="0"/>
                </a:lnTo>
                <a:close/>
              </a:path>
            </a:pathLst>
          </a:custGeom>
          <a:solidFill>
            <a:srgbClr val="00ACED"/>
          </a:solidFill>
        </p:spPr>
        <p:txBody>
          <a:bodyPr wrap="square" lIns="0" tIns="0" rIns="0" bIns="0" rtlCol="0"/>
          <a:lstStyle/>
          <a:p>
            <a:endParaRPr>
              <a:solidFill>
                <a:schemeClr val="bg1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00ACE1"/>
              </a:clrFrom>
              <a:clrTo>
                <a:srgbClr val="00ACE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1694" y="85927"/>
            <a:ext cx="1197306" cy="74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 descr="Z:\Comunicacao\Logos\SELO\selo_EE_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9237" y="2534243"/>
            <a:ext cx="5187526" cy="1312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aixaDeTexto 2"/>
          <p:cNvSpPr txBox="1"/>
          <p:nvPr/>
        </p:nvSpPr>
        <p:spPr>
          <a:xfrm>
            <a:off x="2453128" y="4168543"/>
            <a:ext cx="49997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0" dirty="0" smtClean="0">
                <a:solidFill>
                  <a:schemeClr val="bg2">
                    <a:lumMod val="75000"/>
                  </a:schemeClr>
                </a:solidFill>
              </a:rPr>
              <a:t>Obrigado!</a:t>
            </a:r>
          </a:p>
        </p:txBody>
      </p:sp>
    </p:spTree>
    <p:extLst>
      <p:ext uri="{BB962C8B-B14F-4D97-AF65-F5344CB8AC3E}">
        <p14:creationId xmlns:p14="http://schemas.microsoft.com/office/powerpoint/2010/main" val="1531937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315625" y="1372425"/>
            <a:ext cx="9144000" cy="4972412"/>
          </a:xfrm>
          <a:prstGeom prst="rect">
            <a:avLst/>
          </a:prstGeom>
        </p:spPr>
        <p:txBody>
          <a:bodyPr>
            <a:noAutofit/>
          </a:bodyPr>
          <a:lstStyle/>
          <a:p>
            <a:pPr algn="just" eaLnBrk="1" hangingPunct="1">
              <a:defRPr/>
            </a:pPr>
            <a:r>
              <a:rPr lang="pt-BR" sz="1600" dirty="0">
                <a:solidFill>
                  <a:srgbClr val="004853"/>
                </a:solidFill>
              </a:rPr>
              <a:t>A promoção do uso mais eficiente da energia é de importância fundamental no Brasil de hoje, por três razões principais:</a:t>
            </a:r>
          </a:p>
          <a:p>
            <a:pPr lvl="1" algn="just" eaLnBrk="1" hangingPunct="1">
              <a:defRPr/>
            </a:pPr>
            <a:r>
              <a:rPr lang="pt-BR" sz="1600" dirty="0">
                <a:solidFill>
                  <a:srgbClr val="004853"/>
                </a:solidFill>
              </a:rPr>
              <a:t>Segurança energética e economia de investimentos</a:t>
            </a:r>
          </a:p>
          <a:p>
            <a:pPr lvl="1" algn="just" eaLnBrk="1" hangingPunct="1">
              <a:defRPr/>
            </a:pPr>
            <a:r>
              <a:rPr lang="pt-BR" sz="1600" dirty="0">
                <a:solidFill>
                  <a:srgbClr val="004853"/>
                </a:solidFill>
              </a:rPr>
              <a:t>Minimização de impactos ambientais locais e regionais e mudanças climáticas globais</a:t>
            </a:r>
          </a:p>
          <a:p>
            <a:pPr lvl="1" algn="just" eaLnBrk="1" hangingPunct="1">
              <a:defRPr/>
            </a:pPr>
            <a:r>
              <a:rPr lang="pt-BR" sz="1600" dirty="0">
                <a:solidFill>
                  <a:srgbClr val="004853"/>
                </a:solidFill>
              </a:rPr>
              <a:t>Contribuição ao desenvolvimento, aumentando a qualidade e a produtividade</a:t>
            </a:r>
          </a:p>
          <a:p>
            <a:pPr marL="0" indent="0" algn="just" eaLnBrk="1" hangingPunct="1">
              <a:buNone/>
              <a:defRPr/>
            </a:pPr>
            <a:endParaRPr lang="pt-BR" sz="1600" dirty="0">
              <a:solidFill>
                <a:srgbClr val="004853"/>
              </a:solidFill>
            </a:endParaRPr>
          </a:p>
          <a:p>
            <a:pPr algn="just" eaLnBrk="1" hangingPunct="1">
              <a:defRPr/>
            </a:pPr>
            <a:r>
              <a:rPr lang="pt-BR" sz="1600" dirty="0">
                <a:solidFill>
                  <a:srgbClr val="004853"/>
                </a:solidFill>
              </a:rPr>
              <a:t>A </a:t>
            </a:r>
            <a:r>
              <a:rPr lang="pt-BR" sz="1600" b="1" dirty="0">
                <a:solidFill>
                  <a:srgbClr val="004853"/>
                </a:solidFill>
              </a:rPr>
              <a:t>conservação</a:t>
            </a:r>
            <a:r>
              <a:rPr lang="pt-BR" sz="1600" dirty="0">
                <a:solidFill>
                  <a:srgbClr val="004853"/>
                </a:solidFill>
              </a:rPr>
              <a:t> pode ser vista como uma </a:t>
            </a:r>
            <a:r>
              <a:rPr lang="pt-BR" sz="1600" b="1" dirty="0">
                <a:solidFill>
                  <a:srgbClr val="004853"/>
                </a:solidFill>
              </a:rPr>
              <a:t>fonte alternativa </a:t>
            </a:r>
            <a:r>
              <a:rPr lang="pt-BR" sz="1600" dirty="0">
                <a:solidFill>
                  <a:srgbClr val="004853"/>
                </a:solidFill>
              </a:rPr>
              <a:t>de suprimento das necessidades de energia, pois cada GJ, ou kWh economizado permite </a:t>
            </a:r>
            <a:r>
              <a:rPr lang="pt-BR" sz="1600" b="1" dirty="0">
                <a:solidFill>
                  <a:srgbClr val="004853"/>
                </a:solidFill>
              </a:rPr>
              <a:t>evitar a construção da capacidade adicional de produção de energia</a:t>
            </a:r>
          </a:p>
          <a:p>
            <a:pPr marL="0" indent="0" algn="just" eaLnBrk="1" hangingPunct="1">
              <a:buNone/>
              <a:defRPr/>
            </a:pPr>
            <a:endParaRPr lang="pt-BR" sz="1600" dirty="0">
              <a:solidFill>
                <a:srgbClr val="004853"/>
              </a:solidFill>
            </a:endParaRPr>
          </a:p>
          <a:p>
            <a:pPr algn="just" eaLnBrk="1" hangingPunct="1">
              <a:defRPr/>
            </a:pPr>
            <a:r>
              <a:rPr lang="pt-BR" sz="1600" dirty="0">
                <a:solidFill>
                  <a:srgbClr val="004853"/>
                </a:solidFill>
              </a:rPr>
              <a:t>Outra vantagem da conservação é ser a única “fonte” de energia que </a:t>
            </a:r>
            <a:r>
              <a:rPr lang="pt-BR" sz="1600" b="1" dirty="0">
                <a:solidFill>
                  <a:srgbClr val="004853"/>
                </a:solidFill>
              </a:rPr>
              <a:t>não gera</a:t>
            </a:r>
            <a:r>
              <a:rPr lang="pt-BR" sz="1600" dirty="0">
                <a:solidFill>
                  <a:srgbClr val="004853"/>
                </a:solidFill>
              </a:rPr>
              <a:t>, de modo geral, </a:t>
            </a:r>
            <a:r>
              <a:rPr lang="pt-BR" sz="1600" b="1" dirty="0">
                <a:solidFill>
                  <a:srgbClr val="004853"/>
                </a:solidFill>
              </a:rPr>
              <a:t>impactos ambientais negativos</a:t>
            </a:r>
            <a:r>
              <a:rPr lang="pt-BR" sz="1600" dirty="0">
                <a:solidFill>
                  <a:srgbClr val="004853"/>
                </a:solidFill>
              </a:rPr>
              <a:t>, pois, ao contrário, evita a implantação de novos empreendimentos pelo lado da oferta, que produzem tais impactos</a:t>
            </a:r>
          </a:p>
          <a:p>
            <a:pPr marL="0" indent="0" algn="just" eaLnBrk="1" hangingPunct="1">
              <a:buNone/>
              <a:defRPr/>
            </a:pPr>
            <a:endParaRPr lang="pt-BR" sz="1600" dirty="0">
              <a:solidFill>
                <a:srgbClr val="004853"/>
              </a:solidFill>
            </a:endParaRPr>
          </a:p>
          <a:p>
            <a:pPr algn="just" eaLnBrk="1" hangingPunct="1">
              <a:defRPr/>
            </a:pPr>
            <a:r>
              <a:rPr lang="pt-BR" sz="1600" dirty="0">
                <a:solidFill>
                  <a:srgbClr val="004853"/>
                </a:solidFill>
              </a:rPr>
              <a:t>O </a:t>
            </a:r>
            <a:r>
              <a:rPr lang="pt-BR" sz="1600" b="1" dirty="0">
                <a:solidFill>
                  <a:srgbClr val="004853"/>
                </a:solidFill>
              </a:rPr>
              <a:t>uso mais eficiente da energia na indústria e no setor de serviços </a:t>
            </a:r>
            <a:r>
              <a:rPr lang="pt-BR" sz="1600" dirty="0">
                <a:solidFill>
                  <a:srgbClr val="004853"/>
                </a:solidFill>
              </a:rPr>
              <a:t>traz, quase sempre, benefícios adicionais para as empresas, em termos de </a:t>
            </a:r>
            <a:r>
              <a:rPr lang="pt-BR" sz="1600" b="1" dirty="0">
                <a:solidFill>
                  <a:srgbClr val="004853"/>
                </a:solidFill>
              </a:rPr>
              <a:t>economia de tempo e matéria-prima</a:t>
            </a:r>
            <a:r>
              <a:rPr lang="pt-BR" sz="1600" dirty="0">
                <a:solidFill>
                  <a:srgbClr val="004853"/>
                </a:solidFill>
              </a:rPr>
              <a:t>, e </a:t>
            </a:r>
            <a:r>
              <a:rPr lang="pt-BR" sz="1600" b="1" dirty="0">
                <a:solidFill>
                  <a:srgbClr val="004853"/>
                </a:solidFill>
              </a:rPr>
              <a:t>aperfeiçoamento do produto final</a:t>
            </a:r>
            <a:r>
              <a:rPr lang="pt-BR" sz="1600" dirty="0">
                <a:solidFill>
                  <a:srgbClr val="004853"/>
                </a:solidFill>
              </a:rPr>
              <a:t>, contribuindo para a </a:t>
            </a:r>
            <a:r>
              <a:rPr lang="pt-BR" sz="1600" b="1" dirty="0">
                <a:solidFill>
                  <a:srgbClr val="004853"/>
                </a:solidFill>
              </a:rPr>
              <a:t>elevação da produtividade</a:t>
            </a:r>
            <a:r>
              <a:rPr lang="pt-BR" sz="1600" dirty="0">
                <a:solidFill>
                  <a:srgbClr val="004853"/>
                </a:solidFill>
              </a:rPr>
              <a:t> global da economia</a:t>
            </a:r>
            <a:endParaRPr lang="en-US" sz="1600" dirty="0">
              <a:solidFill>
                <a:srgbClr val="004853"/>
              </a:solidFill>
            </a:endParaRPr>
          </a:p>
        </p:txBody>
      </p:sp>
      <p:sp>
        <p:nvSpPr>
          <p:cNvPr id="8" name="Título 2"/>
          <p:cNvSpPr txBox="1">
            <a:spLocks/>
          </p:cNvSpPr>
          <p:nvPr/>
        </p:nvSpPr>
        <p:spPr>
          <a:xfrm>
            <a:off x="355949" y="41700"/>
            <a:ext cx="8225745" cy="8885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pt-BR" b="0" dirty="0"/>
              <a:t>Motivadores para a adoção de medidas de eficiência energética no Brasil</a:t>
            </a:r>
          </a:p>
        </p:txBody>
      </p:sp>
    </p:spTree>
    <p:extLst>
      <p:ext uri="{BB962C8B-B14F-4D97-AF65-F5344CB8AC3E}">
        <p14:creationId xmlns:p14="http://schemas.microsoft.com/office/powerpoint/2010/main" val="25203331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cenário de Eficiência Energética no </a:t>
            </a:r>
            <a:r>
              <a:rPr lang="pt-BR" dirty="0" smtClean="0"/>
              <a:t>Brasil</a:t>
            </a:r>
            <a:endParaRPr lang="pt-BR" dirty="0"/>
          </a:p>
        </p:txBody>
      </p:sp>
      <p:sp>
        <p:nvSpPr>
          <p:cNvPr id="17414" name="Rectangle 3"/>
          <p:cNvSpPr txBox="1">
            <a:spLocks noChangeArrowheads="1"/>
          </p:cNvSpPr>
          <p:nvPr/>
        </p:nvSpPr>
        <p:spPr bwMode="auto">
          <a:xfrm>
            <a:off x="920553" y="1735350"/>
            <a:ext cx="8093075" cy="4465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just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r>
              <a:rPr lang="pt-BR" sz="16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O Programa Brasileiro de Etiquetagem (PBE)</a:t>
            </a:r>
          </a:p>
          <a:p>
            <a:pPr algn="just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r>
              <a:rPr lang="pt-BR" sz="16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O Programa Nacional de Conservação de Energia Elétrica (Procel)</a:t>
            </a:r>
          </a:p>
          <a:p>
            <a:pPr algn="just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r>
              <a:rPr lang="pt-BR" sz="16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O Programa Nacional da Racionalização do Uso dos Derivados de Petróleo e do Gás Natural (Conpet)</a:t>
            </a:r>
          </a:p>
          <a:p>
            <a:pPr algn="just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r>
              <a:rPr lang="pt-BR" sz="16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A Lei no 10.295/01 (“Lei da Eficiência Energética”)</a:t>
            </a:r>
          </a:p>
          <a:p>
            <a:pPr algn="just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r>
              <a:rPr lang="pt-BR" sz="16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Os programas de eficiência energética das empresas distribuidoras de energia elétrica (</a:t>
            </a:r>
            <a:r>
              <a:rPr lang="pt-BR" sz="1600" dirty="0" err="1">
                <a:solidFill>
                  <a:srgbClr val="004853"/>
                </a:solidFill>
                <a:latin typeface="+mn-lt"/>
                <a:ea typeface="+mn-ea"/>
                <a:cs typeface="+mn-cs"/>
              </a:rPr>
              <a:t>PEEs</a:t>
            </a:r>
            <a:r>
              <a:rPr lang="pt-BR" sz="16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)</a:t>
            </a:r>
          </a:p>
          <a:p>
            <a:pPr algn="just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r>
              <a:rPr lang="pt-BR" sz="16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Políticas públicas e planejamento do governo federal na área de eficiência energética</a:t>
            </a:r>
          </a:p>
          <a:p>
            <a:pPr algn="just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r>
              <a:rPr lang="pt-BR" sz="16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Gestão dos programas de eficiência energética do governo federal</a:t>
            </a:r>
          </a:p>
          <a:p>
            <a:pPr algn="just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r>
              <a:rPr lang="pt-BR" sz="16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O imprescindível papel dos governos estaduais na área de eficiência energética</a:t>
            </a:r>
          </a:p>
          <a:p>
            <a:pPr algn="just" eaLnBrk="1" hangingPunct="1">
              <a:spcBef>
                <a:spcPct val="20000"/>
              </a:spcBef>
              <a:spcAft>
                <a:spcPts val="600"/>
              </a:spcAft>
              <a:buFont typeface="Arial" charset="0"/>
              <a:buAutoNum type="arabicPeriod"/>
              <a:defRPr/>
            </a:pPr>
            <a:r>
              <a:rPr lang="pt-BR" sz="1600" dirty="0">
                <a:solidFill>
                  <a:srgbClr val="004853"/>
                </a:solidFill>
                <a:latin typeface="+mn-lt"/>
                <a:ea typeface="+mn-ea"/>
                <a:cs typeface="+mn-cs"/>
              </a:rPr>
              <a:t>Ganhos potenciais de eficiência energética na indústria e no setor de serviços, no Brasil </a:t>
            </a:r>
          </a:p>
          <a:p>
            <a:pPr marL="0" indent="0" eaLnBrk="1" hangingPunct="1">
              <a:spcBef>
                <a:spcPct val="20000"/>
              </a:spcBef>
              <a:spcAft>
                <a:spcPts val="600"/>
              </a:spcAft>
              <a:defRPr/>
            </a:pPr>
            <a:endParaRPr lang="en-US" sz="1400" dirty="0">
              <a:latin typeface="Verdana" charset="0"/>
              <a:cs typeface="Verdana" charset="0"/>
            </a:endParaRPr>
          </a:p>
          <a:p>
            <a:pPr marL="0" indent="0" eaLnBrk="1" hangingPunct="1">
              <a:spcBef>
                <a:spcPct val="20000"/>
              </a:spcBef>
              <a:spcAft>
                <a:spcPts val="600"/>
              </a:spcAft>
              <a:defRPr/>
            </a:pPr>
            <a:endParaRPr lang="en-US" sz="1400" dirty="0">
              <a:latin typeface="Verdana" charset="0"/>
              <a:cs typeface="Verdana" charset="0"/>
            </a:endParaRPr>
          </a:p>
          <a:p>
            <a:pPr marL="0" indent="0" eaLnBrk="1" hangingPunct="1">
              <a:spcBef>
                <a:spcPct val="20000"/>
              </a:spcBef>
              <a:spcAft>
                <a:spcPts val="600"/>
              </a:spcAft>
              <a:defRPr/>
            </a:pPr>
            <a:endParaRPr lang="en-US" sz="1200" dirty="0">
              <a:latin typeface="Verdana" charset="0"/>
              <a:cs typeface="Verdana" charset="0"/>
            </a:endParaRPr>
          </a:p>
          <a:p>
            <a:pPr marL="0" indent="0" eaLnBrk="1" hangingPunct="1"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sz="1400" dirty="0">
                <a:latin typeface="Verdana" charset="0"/>
                <a:cs typeface="Verdana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4631358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7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5.40914120516301899499E+00&quot;&gt;&lt;m_msothmcolidx val=&quot;0&quot;/&gt;&lt;m_rgb r=&quot;FD&quot; g=&quot;00&quot; b=&quot;00&quot;/&gt;&lt;m_nBrightness val=&quot;0&quot;/&gt;&lt;/elem&gt;&lt;elem m_fUsage=&quot;1.90154324433765919977E+00&quot;&gt;&lt;m_msothmcolidx val=&quot;0&quot;/&gt;&lt;m_rgb r=&quot;FC&quot; g=&quot;C7&quot; b=&quot;25&quot;/&gt;&lt;m_nBrightness val=&quot;0&quot;/&gt;&lt;/elem&gt;&lt;elem m_fUsage=&quot;1.70999999999999996447E+00&quot;&gt;&lt;m_msothmcolidx val=&quot;0&quot;/&gt;&lt;m_rgb r=&quot;E4&quot; g=&quot;6F&quot; b=&quot;03&quot;/&gt;&lt;m_nBrightness val=&quot;0&quot;/&gt;&lt;/elem&gt;&lt;elem m_fUsage=&quot;7.29000000000000092371E-01&quot;&gt;&lt;m_msothmcolidx val=&quot;0&quot;/&gt;&lt;m_rgb r=&quot;76&quot; g=&quot;9D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tc39cif0.f4bY3a4yR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Design padrão">
  <a:themeElements>
    <a:clrScheme name="CPFL">
      <a:dk1>
        <a:srgbClr val="0058A0"/>
      </a:dk1>
      <a:lt1>
        <a:srgbClr val="FFFFFF"/>
      </a:lt1>
      <a:dk2>
        <a:srgbClr val="50A097"/>
      </a:dk2>
      <a:lt2>
        <a:srgbClr val="6D6E71"/>
      </a:lt2>
      <a:accent1>
        <a:srgbClr val="0058A0"/>
      </a:accent1>
      <a:accent2>
        <a:srgbClr val="80C342"/>
      </a:accent2>
      <a:accent3>
        <a:srgbClr val="ED1C24"/>
      </a:accent3>
      <a:accent4>
        <a:srgbClr val="F68B1F"/>
      </a:accent4>
      <a:accent5>
        <a:srgbClr val="00ADE1"/>
      </a:accent5>
      <a:accent6>
        <a:srgbClr val="A3C8D8"/>
      </a:accent6>
      <a:hlink>
        <a:srgbClr val="2575AE"/>
      </a:hlink>
      <a:folHlink>
        <a:srgbClr val="800080"/>
      </a:folHlink>
    </a:clrScheme>
    <a:fontScheme name="2_Design padrão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000" b="0" i="0" u="none" strike="noStrike" cap="none" normalizeH="0" baseline="0" dirty="0" err="1" smtClean="0">
            <a:ln>
              <a:noFill/>
            </a:ln>
            <a:solidFill>
              <a:srgbClr val="150F4D"/>
            </a:solidFill>
            <a:effectLst/>
            <a:latin typeface="Verdana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1400" b="0" dirty="0" smtClean="0"/>
        </a:defPPr>
      </a:lstStyle>
    </a:txDef>
  </a:objectDefaults>
  <a:extraClrSchemeLst>
    <a:extraClrScheme>
      <a:clrScheme name="2_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sign padrão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0058A0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004F91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sign padrão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0058A0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004F91"/>
        </a:accent6>
        <a:hlink>
          <a:srgbClr val="0033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sign padrão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0058A0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004F91"/>
        </a:accent6>
        <a:hlink>
          <a:srgbClr val="0058A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Personalizar design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615</TotalTime>
  <Words>3972</Words>
  <Application>Microsoft Office PowerPoint</Application>
  <PresentationFormat>Papel A4 (210 x 297 mm)</PresentationFormat>
  <Paragraphs>821</Paragraphs>
  <Slides>74</Slides>
  <Notes>68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5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74</vt:i4>
      </vt:variant>
    </vt:vector>
  </HeadingPairs>
  <TitlesOfParts>
    <vt:vector size="88" baseType="lpstr">
      <vt:lpstr>ＭＳ Ｐゴシック</vt:lpstr>
      <vt:lpstr>宋体</vt:lpstr>
      <vt:lpstr>Arial</vt:lpstr>
      <vt:lpstr>BankGothic Lt BT</vt:lpstr>
      <vt:lpstr>Calibri</vt:lpstr>
      <vt:lpstr>Tahoma</vt:lpstr>
      <vt:lpstr>Verdana</vt:lpstr>
      <vt:lpstr>Wingdings</vt:lpstr>
      <vt:lpstr>2_Design padrão</vt:lpstr>
      <vt:lpstr>Personalizar design</vt:lpstr>
      <vt:lpstr>1_Personalizar design</vt:lpstr>
      <vt:lpstr>2_Personalizar design</vt:lpstr>
      <vt:lpstr>3_Personalizar design</vt:lpstr>
      <vt:lpstr>Slide do think-cell</vt:lpstr>
      <vt:lpstr>Programa de Eficiência Energética Escola de Engenharia de São Carlos - EESC Universidade de São Paulo - USP</vt:lpstr>
      <vt:lpstr>Agenda</vt:lpstr>
      <vt:lpstr>Apresentação do PowerPoint</vt:lpstr>
      <vt:lpstr>Apresentação do PowerPoint</vt:lpstr>
      <vt:lpstr>Considerações Gerais</vt:lpstr>
      <vt:lpstr>Qual é o Cenário?</vt:lpstr>
      <vt:lpstr>Apresentação do PowerPoint</vt:lpstr>
      <vt:lpstr>Apresentação do PowerPoint</vt:lpstr>
      <vt:lpstr>O cenário de Eficiência Energética no Brasil</vt:lpstr>
      <vt:lpstr>Apresentação do PowerPoint</vt:lpstr>
      <vt:lpstr>O “espírito” da Lei nº 10.295/01</vt:lpstr>
      <vt:lpstr>Potencial de eficiência energética</vt:lpstr>
      <vt:lpstr>Potencial de eficiência energética</vt:lpstr>
      <vt:lpstr>Partes interessadas</vt:lpstr>
      <vt:lpstr>Ciclo EE</vt:lpstr>
      <vt:lpstr>Modelo de Negócio</vt:lpstr>
      <vt:lpstr>Ganhos x Economia</vt:lpstr>
      <vt:lpstr>O indústria “já sabe o que fazer”?!</vt:lpstr>
      <vt:lpstr>Telhados solares</vt:lpstr>
      <vt:lpstr>Solar filmes finos | Prédios de vidro</vt:lpstr>
      <vt:lpstr>O que é o PEE?</vt:lpstr>
      <vt:lpstr>Legislação - PEE</vt:lpstr>
      <vt:lpstr>Regras</vt:lpstr>
      <vt:lpstr>Apresentação do PowerPoint</vt:lpstr>
      <vt:lpstr>Eficiência Energética Histórico de realizações</vt:lpstr>
      <vt:lpstr>Quais as regras do Programa de Eficiência Energética?</vt:lpstr>
      <vt:lpstr> PROGRAMA DE EFICIÊNCIA ENERGÉTICA</vt:lpstr>
      <vt:lpstr>CHAMADA PÚBLICA DE PROJETOS - ANUAL</vt:lpstr>
      <vt:lpstr>Portfólio de Projetos e Obras de EE</vt:lpstr>
      <vt:lpstr>Usos Finais</vt:lpstr>
      <vt:lpstr>Usos Finais</vt:lpstr>
      <vt:lpstr>Usos Finais</vt:lpstr>
      <vt:lpstr>Indicadores – CPFL Energia – Dezembro/2017</vt:lpstr>
      <vt:lpstr>Realização Física – Dezembro/2017</vt:lpstr>
      <vt:lpstr>Apresentação do PowerPoint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Principais Projetos Implementados</vt:lpstr>
      <vt:lpstr>Apresentação do PowerPoint</vt:lpstr>
    </vt:vector>
  </TitlesOfParts>
  <Company>CPF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c482447</dc:creator>
  <cp:lastModifiedBy>Juliano Garcia Campos</cp:lastModifiedBy>
  <cp:revision>2166</cp:revision>
  <cp:lastPrinted>2012-04-05T11:16:51Z</cp:lastPrinted>
  <dcterms:created xsi:type="dcterms:W3CDTF">2008-08-15T14:44:23Z</dcterms:created>
  <dcterms:modified xsi:type="dcterms:W3CDTF">2018-06-05T13:06:49Z</dcterms:modified>
</cp:coreProperties>
</file>